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4096" r:id="rId1"/>
  </p:sldMasterIdLst>
  <p:notesMasterIdLst>
    <p:notesMasterId r:id="rId22"/>
  </p:notesMasterIdLst>
  <p:sldIdLst>
    <p:sldId id="256" r:id="rId2"/>
    <p:sldId id="696" r:id="rId3"/>
    <p:sldId id="697" r:id="rId4"/>
    <p:sldId id="678" r:id="rId5"/>
    <p:sldId id="679" r:id="rId6"/>
    <p:sldId id="690" r:id="rId7"/>
    <p:sldId id="277" r:id="rId8"/>
    <p:sldId id="699" r:id="rId9"/>
    <p:sldId id="303" r:id="rId10"/>
    <p:sldId id="700" r:id="rId11"/>
    <p:sldId id="663" r:id="rId12"/>
    <p:sldId id="664" r:id="rId13"/>
    <p:sldId id="655" r:id="rId14"/>
    <p:sldId id="701" r:id="rId15"/>
    <p:sldId id="267" r:id="rId16"/>
    <p:sldId id="695" r:id="rId17"/>
    <p:sldId id="667" r:id="rId18"/>
    <p:sldId id="673" r:id="rId19"/>
    <p:sldId id="694" r:id="rId20"/>
    <p:sldId id="653" r:id="rId21"/>
  </p:sldIdLst>
  <p:sldSz cx="9144000" cy="5143500" type="screen16x9"/>
  <p:notesSz cx="6858000" cy="9144000"/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394542" algn="ctr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789101" algn="ctr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183656" algn="ctr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578209" algn="ctr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1972762" algn="l" defTabSz="394542" rtl="0" eaLnBrk="1" latinLnBrk="0" hangingPunct="1"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367322" algn="l" defTabSz="394542" rtl="0" eaLnBrk="1" latinLnBrk="0" hangingPunct="1"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2761854" algn="l" defTabSz="394542" rtl="0" eaLnBrk="1" latinLnBrk="0" hangingPunct="1"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156415" algn="l" defTabSz="394542" rtl="0" eaLnBrk="1" latinLnBrk="0" hangingPunct="1"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573">
          <p15:clr>
            <a:srgbClr val="A4A3A4"/>
          </p15:clr>
        </p15:guide>
        <p15:guide id="2" pos="79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A2BB86-E007-45EB-866C-9A595ED0A894}" v="759" dt="2022-11-23T17:19:31.14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75676" autoAdjust="0"/>
  </p:normalViewPr>
  <p:slideViewPr>
    <p:cSldViewPr snapToGrid="0">
      <p:cViewPr>
        <p:scale>
          <a:sx n="100" d="100"/>
          <a:sy n="100" d="100"/>
        </p:scale>
        <p:origin x="1254" y="234"/>
      </p:cViewPr>
      <p:guideLst>
        <p:guide orient="horz" pos="2573"/>
        <p:guide pos="7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n, Sibo" userId="ea051dd4-adc5-46dc-bb80-8ca847fcc2d8" providerId="ADAL" clId="{7EA2BB86-E007-45EB-866C-9A595ED0A894}"/>
    <pc:docChg chg="undo custSel addSld delSld modSld sldOrd">
      <pc:chgData name="Lin, Sibo" userId="ea051dd4-adc5-46dc-bb80-8ca847fcc2d8" providerId="ADAL" clId="{7EA2BB86-E007-45EB-866C-9A595ED0A894}" dt="2022-11-23T17:20:16.177" v="3777" actId="20577"/>
      <pc:docMkLst>
        <pc:docMk/>
      </pc:docMkLst>
      <pc:sldChg chg="addSp modSp mod">
        <pc:chgData name="Lin, Sibo" userId="ea051dd4-adc5-46dc-bb80-8ca847fcc2d8" providerId="ADAL" clId="{7EA2BB86-E007-45EB-866C-9A595ED0A894}" dt="2022-11-23T17:07:23.155" v="3600" actId="1076"/>
        <pc:sldMkLst>
          <pc:docMk/>
          <pc:sldMk cId="3395666435" sldId="256"/>
        </pc:sldMkLst>
        <pc:spChg chg="mod">
          <ac:chgData name="Lin, Sibo" userId="ea051dd4-adc5-46dc-bb80-8ca847fcc2d8" providerId="ADAL" clId="{7EA2BB86-E007-45EB-866C-9A595ED0A894}" dt="2022-11-23T15:35:39.810" v="3446" actId="1076"/>
          <ac:spMkLst>
            <pc:docMk/>
            <pc:sldMk cId="3395666435" sldId="256"/>
            <ac:spMk id="3" creationId="{9AACC487-458E-E6ED-29D6-D65975E1FE0F}"/>
          </ac:spMkLst>
        </pc:spChg>
        <pc:spChg chg="add mod">
          <ac:chgData name="Lin, Sibo" userId="ea051dd4-adc5-46dc-bb80-8ca847fcc2d8" providerId="ADAL" clId="{7EA2BB86-E007-45EB-866C-9A595ED0A894}" dt="2022-11-23T15:32:51.348" v="3353"/>
          <ac:spMkLst>
            <pc:docMk/>
            <pc:sldMk cId="3395666435" sldId="256"/>
            <ac:spMk id="4" creationId="{A89A7221-AF42-2B7D-91CF-2FAC27A9A779}"/>
          </ac:spMkLst>
        </pc:spChg>
        <pc:spChg chg="add mod">
          <ac:chgData name="Lin, Sibo" userId="ea051dd4-adc5-46dc-bb80-8ca847fcc2d8" providerId="ADAL" clId="{7EA2BB86-E007-45EB-866C-9A595ED0A894}" dt="2022-11-23T17:07:23.155" v="3600" actId="1076"/>
          <ac:spMkLst>
            <pc:docMk/>
            <pc:sldMk cId="3395666435" sldId="256"/>
            <ac:spMk id="6" creationId="{6E21CDF9-633C-DE4D-3BBF-ADE530F0B900}"/>
          </ac:spMkLst>
        </pc:spChg>
        <pc:spChg chg="add mod">
          <ac:chgData name="Lin, Sibo" userId="ea051dd4-adc5-46dc-bb80-8ca847fcc2d8" providerId="ADAL" clId="{7EA2BB86-E007-45EB-866C-9A595ED0A894}" dt="2022-11-23T15:35:50.101" v="3449" actId="1076"/>
          <ac:spMkLst>
            <pc:docMk/>
            <pc:sldMk cId="3395666435" sldId="256"/>
            <ac:spMk id="8" creationId="{A0AE6373-C1C0-D75A-EBDE-D90221FA064E}"/>
          </ac:spMkLst>
        </pc:spChg>
      </pc:sldChg>
      <pc:sldChg chg="del">
        <pc:chgData name="Lin, Sibo" userId="ea051dd4-adc5-46dc-bb80-8ca847fcc2d8" providerId="ADAL" clId="{7EA2BB86-E007-45EB-866C-9A595ED0A894}" dt="2022-11-23T17:07:07.235" v="3598" actId="47"/>
        <pc:sldMkLst>
          <pc:docMk/>
          <pc:sldMk cId="255918762" sldId="257"/>
        </pc:sldMkLst>
      </pc:sldChg>
      <pc:sldChg chg="addSp delSp modSp add del mod">
        <pc:chgData name="Lin, Sibo" userId="ea051dd4-adc5-46dc-bb80-8ca847fcc2d8" providerId="ADAL" clId="{7EA2BB86-E007-45EB-866C-9A595ED0A894}" dt="2022-11-23T06:43:57.340" v="1704" actId="47"/>
        <pc:sldMkLst>
          <pc:docMk/>
          <pc:sldMk cId="4273780394" sldId="261"/>
        </pc:sldMkLst>
        <pc:spChg chg="add del mod">
          <ac:chgData name="Lin, Sibo" userId="ea051dd4-adc5-46dc-bb80-8ca847fcc2d8" providerId="ADAL" clId="{7EA2BB86-E007-45EB-866C-9A595ED0A894}" dt="2022-11-23T06:42:52.771" v="1699"/>
          <ac:spMkLst>
            <pc:docMk/>
            <pc:sldMk cId="4273780394" sldId="261"/>
            <ac:spMk id="2" creationId="{CDF0CFE7-30DB-87AE-EED7-2FAC1909B25F}"/>
          </ac:spMkLst>
        </pc:spChg>
        <pc:spChg chg="add del mod">
          <ac:chgData name="Lin, Sibo" userId="ea051dd4-adc5-46dc-bb80-8ca847fcc2d8" providerId="ADAL" clId="{7EA2BB86-E007-45EB-866C-9A595ED0A894}" dt="2022-11-23T06:43:29.976" v="1703"/>
          <ac:spMkLst>
            <pc:docMk/>
            <pc:sldMk cId="4273780394" sldId="261"/>
            <ac:spMk id="5" creationId="{22471103-26DD-269B-45A5-6FBA54684E28}"/>
          </ac:spMkLst>
        </pc:spChg>
        <pc:graphicFrameChg chg="add del mod">
          <ac:chgData name="Lin, Sibo" userId="ea051dd4-adc5-46dc-bb80-8ca847fcc2d8" providerId="ADAL" clId="{7EA2BB86-E007-45EB-866C-9A595ED0A894}" dt="2022-11-23T06:42:52.771" v="1699"/>
          <ac:graphicFrameMkLst>
            <pc:docMk/>
            <pc:sldMk cId="4273780394" sldId="261"/>
            <ac:graphicFrameMk id="4" creationId="{4CBF5815-D595-E21F-D5EA-6E3A331BB476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6:43:29.976" v="1703"/>
          <ac:graphicFrameMkLst>
            <pc:docMk/>
            <pc:sldMk cId="4273780394" sldId="261"/>
            <ac:graphicFrameMk id="6" creationId="{77643B95-8C09-F898-2B70-459C42CCF050}"/>
          </ac:graphicFrameMkLst>
        </pc:graphicFrameChg>
      </pc:sldChg>
      <pc:sldChg chg="add del">
        <pc:chgData name="Lin, Sibo" userId="ea051dd4-adc5-46dc-bb80-8ca847fcc2d8" providerId="ADAL" clId="{7EA2BB86-E007-45EB-866C-9A595ED0A894}" dt="2022-11-23T15:36:13.062" v="3451" actId="47"/>
        <pc:sldMkLst>
          <pc:docMk/>
          <pc:sldMk cId="2114890005" sldId="262"/>
        </pc:sldMkLst>
      </pc:sldChg>
      <pc:sldChg chg="addSp delSp modSp add mod ord">
        <pc:chgData name="Lin, Sibo" userId="ea051dd4-adc5-46dc-bb80-8ca847fcc2d8" providerId="ADAL" clId="{7EA2BB86-E007-45EB-866C-9A595ED0A894}" dt="2022-11-23T17:05:37.418" v="3597" actId="20577"/>
        <pc:sldMkLst>
          <pc:docMk/>
          <pc:sldMk cId="211390908" sldId="267"/>
        </pc:sldMkLst>
        <pc:spChg chg="mod">
          <ac:chgData name="Lin, Sibo" userId="ea051dd4-adc5-46dc-bb80-8ca847fcc2d8" providerId="ADAL" clId="{7EA2BB86-E007-45EB-866C-9A595ED0A894}" dt="2022-11-23T04:28:50.411" v="1361"/>
          <ac:spMkLst>
            <pc:docMk/>
            <pc:sldMk cId="211390908" sldId="267"/>
            <ac:spMk id="8" creationId="{680B0E47-5167-4606-9905-4F9FF074DC99}"/>
          </ac:spMkLst>
        </pc:spChg>
        <pc:spChg chg="mod">
          <ac:chgData name="Lin, Sibo" userId="ea051dd4-adc5-46dc-bb80-8ca847fcc2d8" providerId="ADAL" clId="{7EA2BB86-E007-45EB-866C-9A595ED0A894}" dt="2022-11-23T17:05:37.418" v="3597" actId="20577"/>
          <ac:spMkLst>
            <pc:docMk/>
            <pc:sldMk cId="211390908" sldId="267"/>
            <ac:spMk id="10" creationId="{EAE89131-2E48-4A81-B6AD-12DD7BD493E4}"/>
          </ac:spMkLst>
        </pc:spChg>
        <pc:picChg chg="add del mod">
          <ac:chgData name="Lin, Sibo" userId="ea051dd4-adc5-46dc-bb80-8ca847fcc2d8" providerId="ADAL" clId="{7EA2BB86-E007-45EB-866C-9A595ED0A894}" dt="2022-11-23T04:35:34.740" v="1437" actId="478"/>
          <ac:picMkLst>
            <pc:docMk/>
            <pc:sldMk cId="211390908" sldId="267"/>
            <ac:picMk id="5" creationId="{43C86F55-EEF3-1F4A-9F34-C45D25DBC4D1}"/>
          </ac:picMkLst>
        </pc:picChg>
        <pc:picChg chg="add del mod">
          <ac:chgData name="Lin, Sibo" userId="ea051dd4-adc5-46dc-bb80-8ca847fcc2d8" providerId="ADAL" clId="{7EA2BB86-E007-45EB-866C-9A595ED0A894}" dt="2022-11-23T04:35:34.740" v="1437" actId="478"/>
          <ac:picMkLst>
            <pc:docMk/>
            <pc:sldMk cId="211390908" sldId="267"/>
            <ac:picMk id="6" creationId="{9C819519-07B5-DE3E-6269-EBD0F91CE86F}"/>
          </ac:picMkLst>
        </pc:picChg>
        <pc:picChg chg="add del mod">
          <ac:chgData name="Lin, Sibo" userId="ea051dd4-adc5-46dc-bb80-8ca847fcc2d8" providerId="ADAL" clId="{7EA2BB86-E007-45EB-866C-9A595ED0A894}" dt="2022-11-23T04:35:34.740" v="1437" actId="478"/>
          <ac:picMkLst>
            <pc:docMk/>
            <pc:sldMk cId="211390908" sldId="267"/>
            <ac:picMk id="7" creationId="{27A3856F-5F13-4E72-7E9E-35D6CC7C6E68}"/>
          </ac:picMkLst>
        </pc:picChg>
        <pc:picChg chg="del">
          <ac:chgData name="Lin, Sibo" userId="ea051dd4-adc5-46dc-bb80-8ca847fcc2d8" providerId="ADAL" clId="{7EA2BB86-E007-45EB-866C-9A595ED0A894}" dt="2022-11-23T04:27:12.789" v="1335" actId="478"/>
          <ac:picMkLst>
            <pc:docMk/>
            <pc:sldMk cId="211390908" sldId="267"/>
            <ac:picMk id="11" creationId="{C44D5332-1E2F-48A7-B3CA-9A6E5D26C115}"/>
          </ac:picMkLst>
        </pc:picChg>
      </pc:sldChg>
      <pc:sldChg chg="add del">
        <pc:chgData name="Lin, Sibo" userId="ea051dd4-adc5-46dc-bb80-8ca847fcc2d8" providerId="ADAL" clId="{7EA2BB86-E007-45EB-866C-9A595ED0A894}" dt="2022-11-23T06:41:51.735" v="1696" actId="47"/>
        <pc:sldMkLst>
          <pc:docMk/>
          <pc:sldMk cId="1290091104" sldId="271"/>
        </pc:sldMkLst>
      </pc:sldChg>
      <pc:sldChg chg="addSp modSp add del mod">
        <pc:chgData name="Lin, Sibo" userId="ea051dd4-adc5-46dc-bb80-8ca847fcc2d8" providerId="ADAL" clId="{7EA2BB86-E007-45EB-866C-9A595ED0A894}" dt="2022-11-23T07:28:52.389" v="2024" actId="2696"/>
        <pc:sldMkLst>
          <pc:docMk/>
          <pc:sldMk cId="66374937" sldId="277"/>
        </pc:sldMkLst>
        <pc:spChg chg="mod">
          <ac:chgData name="Lin, Sibo" userId="ea051dd4-adc5-46dc-bb80-8ca847fcc2d8" providerId="ADAL" clId="{7EA2BB86-E007-45EB-866C-9A595ED0A894}" dt="2022-11-23T05:58:53.776" v="1574" actId="20577"/>
          <ac:spMkLst>
            <pc:docMk/>
            <pc:sldMk cId="66374937" sldId="277"/>
            <ac:spMk id="3" creationId="{31618BC3-E957-45D1-A604-8CCB7E73A5C0}"/>
          </ac:spMkLst>
        </pc:spChg>
        <pc:graphicFrameChg chg="add mod">
          <ac:chgData name="Lin, Sibo" userId="ea051dd4-adc5-46dc-bb80-8ca847fcc2d8" providerId="ADAL" clId="{7EA2BB86-E007-45EB-866C-9A595ED0A894}" dt="2022-11-23T05:58:32.435" v="1558"/>
          <ac:graphicFrameMkLst>
            <pc:docMk/>
            <pc:sldMk cId="66374937" sldId="277"/>
            <ac:graphicFrameMk id="5" creationId="{F67D3E66-5BC5-B772-DA61-EAE1A66FF67B}"/>
          </ac:graphicFrameMkLst>
        </pc:graphicFrameChg>
      </pc:sldChg>
      <pc:sldChg chg="modSp add mod">
        <pc:chgData name="Lin, Sibo" userId="ea051dd4-adc5-46dc-bb80-8ca847fcc2d8" providerId="ADAL" clId="{7EA2BB86-E007-45EB-866C-9A595ED0A894}" dt="2022-11-23T07:34:45.264" v="2555" actId="115"/>
        <pc:sldMkLst>
          <pc:docMk/>
          <pc:sldMk cId="2209895284" sldId="277"/>
        </pc:sldMkLst>
        <pc:spChg chg="mod">
          <ac:chgData name="Lin, Sibo" userId="ea051dd4-adc5-46dc-bb80-8ca847fcc2d8" providerId="ADAL" clId="{7EA2BB86-E007-45EB-866C-9A595ED0A894}" dt="2022-11-23T07:34:45.264" v="2555" actId="115"/>
          <ac:spMkLst>
            <pc:docMk/>
            <pc:sldMk cId="2209895284" sldId="277"/>
            <ac:spMk id="3" creationId="{31618BC3-E957-45D1-A604-8CCB7E73A5C0}"/>
          </ac:spMkLst>
        </pc:spChg>
        <pc:spChg chg="mod">
          <ac:chgData name="Lin, Sibo" userId="ea051dd4-adc5-46dc-bb80-8ca847fcc2d8" providerId="ADAL" clId="{7EA2BB86-E007-45EB-866C-9A595ED0A894}" dt="2022-11-23T07:32:08.538" v="2208" actId="5793"/>
          <ac:spMkLst>
            <pc:docMk/>
            <pc:sldMk cId="2209895284" sldId="277"/>
            <ac:spMk id="7" creationId="{058EFF0D-7A39-74EA-BE0A-C5521D2DC672}"/>
          </ac:spMkLst>
        </pc:spChg>
      </pc:sldChg>
      <pc:sldChg chg="delSp modSp add mod">
        <pc:chgData name="Lin, Sibo" userId="ea051dd4-adc5-46dc-bb80-8ca847fcc2d8" providerId="ADAL" clId="{7EA2BB86-E007-45EB-866C-9A595ED0A894}" dt="2022-11-23T17:02:12.276" v="3564" actId="478"/>
        <pc:sldMkLst>
          <pc:docMk/>
          <pc:sldMk cId="2073293374" sldId="303"/>
        </pc:sldMkLst>
        <pc:spChg chg="mod">
          <ac:chgData name="Lin, Sibo" userId="ea051dd4-adc5-46dc-bb80-8ca847fcc2d8" providerId="ADAL" clId="{7EA2BB86-E007-45EB-866C-9A595ED0A894}" dt="2022-11-23T07:29:30.889" v="2038" actId="20577"/>
          <ac:spMkLst>
            <pc:docMk/>
            <pc:sldMk cId="2073293374" sldId="303"/>
            <ac:spMk id="3" creationId="{BC923307-7310-4E74-8C84-3C6AB4BB31D8}"/>
          </ac:spMkLst>
        </pc:spChg>
        <pc:spChg chg="del">
          <ac:chgData name="Lin, Sibo" userId="ea051dd4-adc5-46dc-bb80-8ca847fcc2d8" providerId="ADAL" clId="{7EA2BB86-E007-45EB-866C-9A595ED0A894}" dt="2022-11-23T17:02:12.276" v="3564" actId="478"/>
          <ac:spMkLst>
            <pc:docMk/>
            <pc:sldMk cId="2073293374" sldId="303"/>
            <ac:spMk id="17" creationId="{6F91CF3E-33A5-4378-849E-FF1B8B4F92A7}"/>
          </ac:spMkLst>
        </pc:spChg>
      </pc:sldChg>
      <pc:sldChg chg="addSp delSp modSp add del mod">
        <pc:chgData name="Lin, Sibo" userId="ea051dd4-adc5-46dc-bb80-8ca847fcc2d8" providerId="ADAL" clId="{7EA2BB86-E007-45EB-866C-9A595ED0A894}" dt="2022-11-23T07:28:52.389" v="2024" actId="2696"/>
        <pc:sldMkLst>
          <pc:docMk/>
          <pc:sldMk cId="2350985558" sldId="303"/>
        </pc:sldMkLst>
        <pc:spChg chg="mod">
          <ac:chgData name="Lin, Sibo" userId="ea051dd4-adc5-46dc-bb80-8ca847fcc2d8" providerId="ADAL" clId="{7EA2BB86-E007-45EB-866C-9A595ED0A894}" dt="2022-11-23T06:28:20.959" v="1678" actId="14100"/>
          <ac:spMkLst>
            <pc:docMk/>
            <pc:sldMk cId="2350985558" sldId="303"/>
            <ac:spMk id="3" creationId="{BC923307-7310-4E74-8C84-3C6AB4BB31D8}"/>
          </ac:spMkLst>
        </pc:spChg>
        <pc:spChg chg="add mod">
          <ac:chgData name="Lin, Sibo" userId="ea051dd4-adc5-46dc-bb80-8ca847fcc2d8" providerId="ADAL" clId="{7EA2BB86-E007-45EB-866C-9A595ED0A894}" dt="2022-11-23T06:01:32.743" v="1674"/>
          <ac:spMkLst>
            <pc:docMk/>
            <pc:sldMk cId="2350985558" sldId="303"/>
            <ac:spMk id="5" creationId="{7DB41A0C-4EEF-7FB3-7593-822FA8DC3E45}"/>
          </ac:spMkLst>
        </pc:spChg>
        <pc:spChg chg="del">
          <ac:chgData name="Lin, Sibo" userId="ea051dd4-adc5-46dc-bb80-8ca847fcc2d8" providerId="ADAL" clId="{7EA2BB86-E007-45EB-866C-9A595ED0A894}" dt="2022-11-23T06:01:18.764" v="1669" actId="478"/>
          <ac:spMkLst>
            <pc:docMk/>
            <pc:sldMk cId="2350985558" sldId="303"/>
            <ac:spMk id="43" creationId="{E09996E4-819D-882B-2CF3-364103E9C805}"/>
          </ac:spMkLst>
        </pc:spChg>
        <pc:graphicFrameChg chg="add del mod">
          <ac:chgData name="Lin, Sibo" userId="ea051dd4-adc5-46dc-bb80-8ca847fcc2d8" providerId="ADAL" clId="{7EA2BB86-E007-45EB-866C-9A595ED0A894}" dt="2022-11-23T06:01:20.132" v="1671"/>
          <ac:graphicFrameMkLst>
            <pc:docMk/>
            <pc:sldMk cId="2350985558" sldId="303"/>
            <ac:graphicFrameMk id="2" creationId="{46AAD766-02EC-565A-4648-74D27DFE150A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6:01:26.662" v="1673"/>
          <ac:graphicFrameMkLst>
            <pc:docMk/>
            <pc:sldMk cId="2350985558" sldId="303"/>
            <ac:graphicFrameMk id="4" creationId="{0F1F2CEF-6CE1-28B1-22B0-16E93B33436E}"/>
          </ac:graphicFrameMkLst>
        </pc:graphicFrameChg>
        <pc:graphicFrameChg chg="add mod">
          <ac:chgData name="Lin, Sibo" userId="ea051dd4-adc5-46dc-bb80-8ca847fcc2d8" providerId="ADAL" clId="{7EA2BB86-E007-45EB-866C-9A595ED0A894}" dt="2022-11-23T06:28:16.826" v="1677"/>
          <ac:graphicFrameMkLst>
            <pc:docMk/>
            <pc:sldMk cId="2350985558" sldId="303"/>
            <ac:graphicFrameMk id="6" creationId="{CC18502E-9E1D-0078-C8D7-937986A0722A}"/>
          </ac:graphicFrameMkLst>
        </pc:graphicFrameChg>
      </pc:sldChg>
      <pc:sldChg chg="addSp delSp del mod addAnim delAnim">
        <pc:chgData name="Lin, Sibo" userId="ea051dd4-adc5-46dc-bb80-8ca847fcc2d8" providerId="ADAL" clId="{7EA2BB86-E007-45EB-866C-9A595ED0A894}" dt="2022-11-23T04:45:57.539" v="1503" actId="47"/>
        <pc:sldMkLst>
          <pc:docMk/>
          <pc:sldMk cId="2914107348" sldId="311"/>
        </pc:sldMkLst>
        <pc:spChg chg="add del">
          <ac:chgData name="Lin, Sibo" userId="ea051dd4-adc5-46dc-bb80-8ca847fcc2d8" providerId="ADAL" clId="{7EA2BB86-E007-45EB-866C-9A595ED0A894}" dt="2022-11-23T04:44:27.024" v="1471" actId="21"/>
          <ac:spMkLst>
            <pc:docMk/>
            <pc:sldMk cId="2914107348" sldId="311"/>
            <ac:spMk id="17" creationId="{A639DE47-440D-4A95-AF9B-220318C6BCDA}"/>
          </ac:spMkLst>
        </pc:spChg>
        <pc:spChg chg="add del">
          <ac:chgData name="Lin, Sibo" userId="ea051dd4-adc5-46dc-bb80-8ca847fcc2d8" providerId="ADAL" clId="{7EA2BB86-E007-45EB-866C-9A595ED0A894}" dt="2022-11-23T04:44:27.024" v="1471" actId="21"/>
          <ac:spMkLst>
            <pc:docMk/>
            <pc:sldMk cId="2914107348" sldId="311"/>
            <ac:spMk id="45" creationId="{0C494571-9A50-4621-AFC0-41B9EE73195B}"/>
          </ac:spMkLst>
        </pc:spChg>
        <pc:spChg chg="add del">
          <ac:chgData name="Lin, Sibo" userId="ea051dd4-adc5-46dc-bb80-8ca847fcc2d8" providerId="ADAL" clId="{7EA2BB86-E007-45EB-866C-9A595ED0A894}" dt="2022-11-23T04:44:27.024" v="1471" actId="21"/>
          <ac:spMkLst>
            <pc:docMk/>
            <pc:sldMk cId="2914107348" sldId="311"/>
            <ac:spMk id="47" creationId="{97E1164A-6E44-4A41-A482-8D9A76F7D34A}"/>
          </ac:spMkLst>
        </pc:spChg>
        <pc:spChg chg="add del">
          <ac:chgData name="Lin, Sibo" userId="ea051dd4-adc5-46dc-bb80-8ca847fcc2d8" providerId="ADAL" clId="{7EA2BB86-E007-45EB-866C-9A595ED0A894}" dt="2022-11-23T04:44:27.024" v="1471" actId="21"/>
          <ac:spMkLst>
            <pc:docMk/>
            <pc:sldMk cId="2914107348" sldId="311"/>
            <ac:spMk id="49" creationId="{1F223FED-7AB6-4583-834D-88936F18202C}"/>
          </ac:spMkLst>
        </pc:spChg>
        <pc:spChg chg="add del">
          <ac:chgData name="Lin, Sibo" userId="ea051dd4-adc5-46dc-bb80-8ca847fcc2d8" providerId="ADAL" clId="{7EA2BB86-E007-45EB-866C-9A595ED0A894}" dt="2022-11-23T04:44:27.024" v="1471" actId="21"/>
          <ac:spMkLst>
            <pc:docMk/>
            <pc:sldMk cId="2914107348" sldId="311"/>
            <ac:spMk id="51" creationId="{0565F061-D16A-406D-A558-7C0EFE1BFFEA}"/>
          </ac:spMkLst>
        </pc:spChg>
        <pc:spChg chg="add del">
          <ac:chgData name="Lin, Sibo" userId="ea051dd4-adc5-46dc-bb80-8ca847fcc2d8" providerId="ADAL" clId="{7EA2BB86-E007-45EB-866C-9A595ED0A894}" dt="2022-11-23T04:44:27.024" v="1471" actId="21"/>
          <ac:spMkLst>
            <pc:docMk/>
            <pc:sldMk cId="2914107348" sldId="311"/>
            <ac:spMk id="60" creationId="{9DFAF44D-8C5C-4232-A1A2-FA85AC931C0B}"/>
          </ac:spMkLst>
        </pc:spChg>
        <pc:spChg chg="add del">
          <ac:chgData name="Lin, Sibo" userId="ea051dd4-adc5-46dc-bb80-8ca847fcc2d8" providerId="ADAL" clId="{7EA2BB86-E007-45EB-866C-9A595ED0A894}" dt="2022-11-23T04:44:27.024" v="1471" actId="21"/>
          <ac:spMkLst>
            <pc:docMk/>
            <pc:sldMk cId="2914107348" sldId="311"/>
            <ac:spMk id="63" creationId="{021E7F82-614D-40E7-A3A5-523096EC3DF2}"/>
          </ac:spMkLst>
        </pc:spChg>
        <pc:graphicFrameChg chg="add del">
          <ac:chgData name="Lin, Sibo" userId="ea051dd4-adc5-46dc-bb80-8ca847fcc2d8" providerId="ADAL" clId="{7EA2BB86-E007-45EB-866C-9A595ED0A894}" dt="2022-11-23T04:44:27.024" v="1471" actId="21"/>
          <ac:graphicFrameMkLst>
            <pc:docMk/>
            <pc:sldMk cId="2914107348" sldId="311"/>
            <ac:graphicFrameMk id="37" creationId="{8B3322BF-6966-48F5-AC5C-FF1EFD7DDE9D}"/>
          </ac:graphicFrameMkLst>
        </pc:graphicFrameChg>
        <pc:graphicFrameChg chg="add del">
          <ac:chgData name="Lin, Sibo" userId="ea051dd4-adc5-46dc-bb80-8ca847fcc2d8" providerId="ADAL" clId="{7EA2BB86-E007-45EB-866C-9A595ED0A894}" dt="2022-11-23T04:44:27.024" v="1471" actId="21"/>
          <ac:graphicFrameMkLst>
            <pc:docMk/>
            <pc:sldMk cId="2914107348" sldId="311"/>
            <ac:graphicFrameMk id="42" creationId="{D045F876-8599-4954-B462-219C792FFBC7}"/>
          </ac:graphicFrameMkLst>
        </pc:graphicFrameChg>
        <pc:picChg chg="add del">
          <ac:chgData name="Lin, Sibo" userId="ea051dd4-adc5-46dc-bb80-8ca847fcc2d8" providerId="ADAL" clId="{7EA2BB86-E007-45EB-866C-9A595ED0A894}" dt="2022-11-23T04:44:27.024" v="1471" actId="21"/>
          <ac:picMkLst>
            <pc:docMk/>
            <pc:sldMk cId="2914107348" sldId="311"/>
            <ac:picMk id="18" creationId="{9D9A5CD0-35A3-43F8-835D-DECAD9EC6C5F}"/>
          </ac:picMkLst>
        </pc:picChg>
        <pc:picChg chg="add del">
          <ac:chgData name="Lin, Sibo" userId="ea051dd4-adc5-46dc-bb80-8ca847fcc2d8" providerId="ADAL" clId="{7EA2BB86-E007-45EB-866C-9A595ED0A894}" dt="2022-11-23T04:44:27.024" v="1471" actId="21"/>
          <ac:picMkLst>
            <pc:docMk/>
            <pc:sldMk cId="2914107348" sldId="311"/>
            <ac:picMk id="66" creationId="{609ABF72-C911-4221-BE80-D38F58917A2B}"/>
          </ac:picMkLst>
        </pc:picChg>
        <pc:cxnChg chg="add del">
          <ac:chgData name="Lin, Sibo" userId="ea051dd4-adc5-46dc-bb80-8ca847fcc2d8" providerId="ADAL" clId="{7EA2BB86-E007-45EB-866C-9A595ED0A894}" dt="2022-11-23T04:44:27.024" v="1471" actId="21"/>
          <ac:cxnSpMkLst>
            <pc:docMk/>
            <pc:sldMk cId="2914107348" sldId="311"/>
            <ac:cxnSpMk id="10" creationId="{00000000-0000-0000-0000-000000000000}"/>
          </ac:cxnSpMkLst>
        </pc:cxnChg>
        <pc:cxnChg chg="add del">
          <ac:chgData name="Lin, Sibo" userId="ea051dd4-adc5-46dc-bb80-8ca847fcc2d8" providerId="ADAL" clId="{7EA2BB86-E007-45EB-866C-9A595ED0A894}" dt="2022-11-23T04:44:27.024" v="1471" actId="21"/>
          <ac:cxnSpMkLst>
            <pc:docMk/>
            <pc:sldMk cId="2914107348" sldId="311"/>
            <ac:cxnSpMk id="53" creationId="{FC147301-530B-4E8F-B5F8-F3E03299AFB5}"/>
          </ac:cxnSpMkLst>
        </pc:cxnChg>
        <pc:cxnChg chg="add del">
          <ac:chgData name="Lin, Sibo" userId="ea051dd4-adc5-46dc-bb80-8ca847fcc2d8" providerId="ADAL" clId="{7EA2BB86-E007-45EB-866C-9A595ED0A894}" dt="2022-11-23T04:44:27.024" v="1471" actId="21"/>
          <ac:cxnSpMkLst>
            <pc:docMk/>
            <pc:sldMk cId="2914107348" sldId="311"/>
            <ac:cxnSpMk id="56" creationId="{BCD8EA63-F4EE-4277-9111-8D9FA5E9E69A}"/>
          </ac:cxnSpMkLst>
        </pc:cxnChg>
      </pc:sldChg>
      <pc:sldChg chg="add del">
        <pc:chgData name="Lin, Sibo" userId="ea051dd4-adc5-46dc-bb80-8ca847fcc2d8" providerId="ADAL" clId="{7EA2BB86-E007-45EB-866C-9A595ED0A894}" dt="2022-11-23T15:36:13.062" v="3451" actId="47"/>
        <pc:sldMkLst>
          <pc:docMk/>
          <pc:sldMk cId="2285918164" sldId="407"/>
        </pc:sldMkLst>
      </pc:sldChg>
      <pc:sldChg chg="modSp add del mod">
        <pc:chgData name="Lin, Sibo" userId="ea051dd4-adc5-46dc-bb80-8ca847fcc2d8" providerId="ADAL" clId="{7EA2BB86-E007-45EB-866C-9A595ED0A894}" dt="2022-11-23T04:34:55.130" v="1429" actId="47"/>
        <pc:sldMkLst>
          <pc:docMk/>
          <pc:sldMk cId="2670118576" sldId="408"/>
        </pc:sldMkLst>
        <pc:spChg chg="mod">
          <ac:chgData name="Lin, Sibo" userId="ea051dd4-adc5-46dc-bb80-8ca847fcc2d8" providerId="ADAL" clId="{7EA2BB86-E007-45EB-866C-9A595ED0A894}" dt="2022-11-23T04:29:21.617" v="1367" actId="20577"/>
          <ac:spMkLst>
            <pc:docMk/>
            <pc:sldMk cId="2670118576" sldId="408"/>
            <ac:spMk id="2" creationId="{00000000-0000-0000-0000-000000000000}"/>
          </ac:spMkLst>
        </pc:spChg>
      </pc:sldChg>
      <pc:sldChg chg="del">
        <pc:chgData name="Lin, Sibo" userId="ea051dd4-adc5-46dc-bb80-8ca847fcc2d8" providerId="ADAL" clId="{7EA2BB86-E007-45EB-866C-9A595ED0A894}" dt="2022-11-23T07:27:16.111" v="2021" actId="47"/>
        <pc:sldMkLst>
          <pc:docMk/>
          <pc:sldMk cId="2730069726" sldId="650"/>
        </pc:sldMkLst>
      </pc:sldChg>
      <pc:sldChg chg="add del">
        <pc:chgData name="Lin, Sibo" userId="ea051dd4-adc5-46dc-bb80-8ca847fcc2d8" providerId="ADAL" clId="{7EA2BB86-E007-45EB-866C-9A595ED0A894}" dt="2022-11-23T06:41:51.735" v="1696" actId="47"/>
        <pc:sldMkLst>
          <pc:docMk/>
          <pc:sldMk cId="4061473020" sldId="651"/>
        </pc:sldMkLst>
      </pc:sldChg>
      <pc:sldChg chg="delSp modSp mod ord">
        <pc:chgData name="Lin, Sibo" userId="ea051dd4-adc5-46dc-bb80-8ca847fcc2d8" providerId="ADAL" clId="{7EA2BB86-E007-45EB-866C-9A595ED0A894}" dt="2022-11-23T06:30:32.451" v="1694" actId="255"/>
        <pc:sldMkLst>
          <pc:docMk/>
          <pc:sldMk cId="690384200" sldId="653"/>
        </pc:sldMkLst>
        <pc:spChg chg="mod">
          <ac:chgData name="Lin, Sibo" userId="ea051dd4-adc5-46dc-bb80-8ca847fcc2d8" providerId="ADAL" clId="{7EA2BB86-E007-45EB-866C-9A595ED0A894}" dt="2022-11-23T06:30:32.451" v="1694" actId="255"/>
          <ac:spMkLst>
            <pc:docMk/>
            <pc:sldMk cId="690384200" sldId="653"/>
            <ac:spMk id="12" creationId="{A502DCA6-B81F-44F5-9F01-51C32F7F21F4}"/>
          </ac:spMkLst>
        </pc:spChg>
        <pc:spChg chg="del">
          <ac:chgData name="Lin, Sibo" userId="ea051dd4-adc5-46dc-bb80-8ca847fcc2d8" providerId="ADAL" clId="{7EA2BB86-E007-45EB-866C-9A595ED0A894}" dt="2022-11-23T06:30:24.980" v="1693" actId="478"/>
          <ac:spMkLst>
            <pc:docMk/>
            <pc:sldMk cId="690384200" sldId="653"/>
            <ac:spMk id="19" creationId="{00000000-0000-0000-0000-000000000000}"/>
          </ac:spMkLst>
        </pc:spChg>
      </pc:sldChg>
      <pc:sldChg chg="modSp mod ord modNotesTx">
        <pc:chgData name="Lin, Sibo" userId="ea051dd4-adc5-46dc-bb80-8ca847fcc2d8" providerId="ADAL" clId="{7EA2BB86-E007-45EB-866C-9A595ED0A894}" dt="2022-11-23T17:19:46.963" v="3770" actId="1076"/>
        <pc:sldMkLst>
          <pc:docMk/>
          <pc:sldMk cId="3013792086" sldId="655"/>
        </pc:sldMkLst>
        <pc:spChg chg="mod">
          <ac:chgData name="Lin, Sibo" userId="ea051dd4-adc5-46dc-bb80-8ca847fcc2d8" providerId="ADAL" clId="{7EA2BB86-E007-45EB-866C-9A595ED0A894}" dt="2022-11-23T07:34:32.441" v="2553" actId="115"/>
          <ac:spMkLst>
            <pc:docMk/>
            <pc:sldMk cId="3013792086" sldId="655"/>
            <ac:spMk id="12" creationId="{A502DCA6-B81F-44F5-9F01-51C32F7F21F4}"/>
          </ac:spMkLst>
        </pc:spChg>
        <pc:spChg chg="mod">
          <ac:chgData name="Lin, Sibo" userId="ea051dd4-adc5-46dc-bb80-8ca847fcc2d8" providerId="ADAL" clId="{7EA2BB86-E007-45EB-866C-9A595ED0A894}" dt="2022-11-23T07:05:41.196" v="2015" actId="255"/>
          <ac:spMkLst>
            <pc:docMk/>
            <pc:sldMk cId="3013792086" sldId="655"/>
            <ac:spMk id="65" creationId="{4B43F788-2867-4E71-9354-655C7BF27C93}"/>
          </ac:spMkLst>
        </pc:spChg>
        <pc:spChg chg="mod">
          <ac:chgData name="Lin, Sibo" userId="ea051dd4-adc5-46dc-bb80-8ca847fcc2d8" providerId="ADAL" clId="{7EA2BB86-E007-45EB-866C-9A595ED0A894}" dt="2022-11-23T07:05:28.281" v="2013" actId="255"/>
          <ac:spMkLst>
            <pc:docMk/>
            <pc:sldMk cId="3013792086" sldId="655"/>
            <ac:spMk id="66" creationId="{F4A49618-C71D-456C-ACF2-DA95CAB4ED8E}"/>
          </ac:spMkLst>
        </pc:spChg>
        <pc:spChg chg="mod">
          <ac:chgData name="Lin, Sibo" userId="ea051dd4-adc5-46dc-bb80-8ca847fcc2d8" providerId="ADAL" clId="{7EA2BB86-E007-45EB-866C-9A595ED0A894}" dt="2022-11-23T07:40:41.331" v="2662" actId="255"/>
          <ac:spMkLst>
            <pc:docMk/>
            <pc:sldMk cId="3013792086" sldId="655"/>
            <ac:spMk id="67" creationId="{7D00732B-4D63-416A-A2EC-9E94A6520960}"/>
          </ac:spMkLst>
        </pc:spChg>
        <pc:spChg chg="mod">
          <ac:chgData name="Lin, Sibo" userId="ea051dd4-adc5-46dc-bb80-8ca847fcc2d8" providerId="ADAL" clId="{7EA2BB86-E007-45EB-866C-9A595ED0A894}" dt="2022-11-23T07:05:34.778" v="2014" actId="255"/>
          <ac:spMkLst>
            <pc:docMk/>
            <pc:sldMk cId="3013792086" sldId="655"/>
            <ac:spMk id="68" creationId="{855A51B4-E991-4FDE-B26A-310CA01B4420}"/>
          </ac:spMkLst>
        </pc:spChg>
        <pc:spChg chg="mod">
          <ac:chgData name="Lin, Sibo" userId="ea051dd4-adc5-46dc-bb80-8ca847fcc2d8" providerId="ADAL" clId="{7EA2BB86-E007-45EB-866C-9A595ED0A894}" dt="2022-11-23T07:05:48.221" v="2016" actId="255"/>
          <ac:spMkLst>
            <pc:docMk/>
            <pc:sldMk cId="3013792086" sldId="655"/>
            <ac:spMk id="73" creationId="{DF6997B0-6D15-4EF3-B5E3-336512A90D44}"/>
          </ac:spMkLst>
        </pc:spChg>
        <pc:spChg chg="mod">
          <ac:chgData name="Lin, Sibo" userId="ea051dd4-adc5-46dc-bb80-8ca847fcc2d8" providerId="ADAL" clId="{7EA2BB86-E007-45EB-866C-9A595ED0A894}" dt="2022-11-23T07:05:28.281" v="2013" actId="255"/>
          <ac:spMkLst>
            <pc:docMk/>
            <pc:sldMk cId="3013792086" sldId="655"/>
            <ac:spMk id="92" creationId="{5E82C244-8ADD-4DBD-B560-576729213D44}"/>
          </ac:spMkLst>
        </pc:spChg>
        <pc:spChg chg="mod">
          <ac:chgData name="Lin, Sibo" userId="ea051dd4-adc5-46dc-bb80-8ca847fcc2d8" providerId="ADAL" clId="{7EA2BB86-E007-45EB-866C-9A595ED0A894}" dt="2022-11-23T07:05:34.778" v="2014" actId="255"/>
          <ac:spMkLst>
            <pc:docMk/>
            <pc:sldMk cId="3013792086" sldId="655"/>
            <ac:spMk id="98" creationId="{923401AF-9C75-4C6F-8FB6-A2D17A6BE549}"/>
          </ac:spMkLst>
        </pc:spChg>
        <pc:spChg chg="mod">
          <ac:chgData name="Lin, Sibo" userId="ea051dd4-adc5-46dc-bb80-8ca847fcc2d8" providerId="ADAL" clId="{7EA2BB86-E007-45EB-866C-9A595ED0A894}" dt="2022-11-23T07:05:41.196" v="2015" actId="255"/>
          <ac:spMkLst>
            <pc:docMk/>
            <pc:sldMk cId="3013792086" sldId="655"/>
            <ac:spMk id="99" creationId="{C4D56D30-D830-47AB-8DBF-110CF34A0250}"/>
          </ac:spMkLst>
        </pc:spChg>
        <pc:spChg chg="mod">
          <ac:chgData name="Lin, Sibo" userId="ea051dd4-adc5-46dc-bb80-8ca847fcc2d8" providerId="ADAL" clId="{7EA2BB86-E007-45EB-866C-9A595ED0A894}" dt="2022-11-23T07:05:48.221" v="2016" actId="255"/>
          <ac:spMkLst>
            <pc:docMk/>
            <pc:sldMk cId="3013792086" sldId="655"/>
            <ac:spMk id="100" creationId="{0C3D9F40-AC86-4398-9FFE-6D55D4361425}"/>
          </ac:spMkLst>
        </pc:spChg>
        <pc:spChg chg="mod">
          <ac:chgData name="Lin, Sibo" userId="ea051dd4-adc5-46dc-bb80-8ca847fcc2d8" providerId="ADAL" clId="{7EA2BB86-E007-45EB-866C-9A595ED0A894}" dt="2022-11-23T17:19:46.963" v="3770" actId="1076"/>
          <ac:spMkLst>
            <pc:docMk/>
            <pc:sldMk cId="3013792086" sldId="655"/>
            <ac:spMk id="111" creationId="{4B0FDE81-076D-47E7-8589-5AA8B1032D92}"/>
          </ac:spMkLst>
        </pc:spChg>
        <pc:grpChg chg="mod">
          <ac:chgData name="Lin, Sibo" userId="ea051dd4-adc5-46dc-bb80-8ca847fcc2d8" providerId="ADAL" clId="{7EA2BB86-E007-45EB-866C-9A595ED0A894}" dt="2022-11-23T07:05:19.946" v="2012" actId="1076"/>
          <ac:grpSpMkLst>
            <pc:docMk/>
            <pc:sldMk cId="3013792086" sldId="655"/>
            <ac:grpSpMk id="114" creationId="{36BC04DA-C947-4F7C-B282-FF444B08B16D}"/>
          </ac:grpSpMkLst>
        </pc:grpChg>
        <pc:grpChg chg="mod">
          <ac:chgData name="Lin, Sibo" userId="ea051dd4-adc5-46dc-bb80-8ca847fcc2d8" providerId="ADAL" clId="{7EA2BB86-E007-45EB-866C-9A595ED0A894}" dt="2022-11-23T07:05:51.337" v="2017" actId="1076"/>
          <ac:grpSpMkLst>
            <pc:docMk/>
            <pc:sldMk cId="3013792086" sldId="655"/>
            <ac:grpSpMk id="136" creationId="{B807DF36-8923-497F-B31C-6AE696A277AA}"/>
          </ac:grpSpMkLst>
        </pc:grpChg>
      </pc:sldChg>
      <pc:sldChg chg="del ord">
        <pc:chgData name="Lin, Sibo" userId="ea051dd4-adc5-46dc-bb80-8ca847fcc2d8" providerId="ADAL" clId="{7EA2BB86-E007-45EB-866C-9A595ED0A894}" dt="2022-11-23T07:27:04.139" v="2020" actId="47"/>
        <pc:sldMkLst>
          <pc:docMk/>
          <pc:sldMk cId="1429957935" sldId="659"/>
        </pc:sldMkLst>
      </pc:sldChg>
      <pc:sldChg chg="del">
        <pc:chgData name="Lin, Sibo" userId="ea051dd4-adc5-46dc-bb80-8ca847fcc2d8" providerId="ADAL" clId="{7EA2BB86-E007-45EB-866C-9A595ED0A894}" dt="2022-11-23T06:47:15.091" v="1944" actId="2696"/>
        <pc:sldMkLst>
          <pc:docMk/>
          <pc:sldMk cId="2021161058" sldId="661"/>
        </pc:sldMkLst>
      </pc:sldChg>
      <pc:sldChg chg="modSp add mod">
        <pc:chgData name="Lin, Sibo" userId="ea051dd4-adc5-46dc-bb80-8ca847fcc2d8" providerId="ADAL" clId="{7EA2BB86-E007-45EB-866C-9A595ED0A894}" dt="2022-11-23T07:29:58.894" v="2047" actId="20577"/>
        <pc:sldMkLst>
          <pc:docMk/>
          <pc:sldMk cId="562381356" sldId="663"/>
        </pc:sldMkLst>
        <pc:spChg chg="mod">
          <ac:chgData name="Lin, Sibo" userId="ea051dd4-adc5-46dc-bb80-8ca847fcc2d8" providerId="ADAL" clId="{7EA2BB86-E007-45EB-866C-9A595ED0A894}" dt="2022-11-23T07:29:58.894" v="2047" actId="20577"/>
          <ac:spMkLst>
            <pc:docMk/>
            <pc:sldMk cId="562381356" sldId="663"/>
            <ac:spMk id="3" creationId="{F676F119-8E53-44B5-A52A-0546F53E2F6C}"/>
          </ac:spMkLst>
        </pc:spChg>
      </pc:sldChg>
      <pc:sldChg chg="addSp modSp add del mod">
        <pc:chgData name="Lin, Sibo" userId="ea051dd4-adc5-46dc-bb80-8ca847fcc2d8" providerId="ADAL" clId="{7EA2BB86-E007-45EB-866C-9A595ED0A894}" dt="2022-11-23T07:28:52.389" v="2024" actId="2696"/>
        <pc:sldMkLst>
          <pc:docMk/>
          <pc:sldMk cId="1415322796" sldId="663"/>
        </pc:sldMkLst>
        <pc:spChg chg="mod">
          <ac:chgData name="Lin, Sibo" userId="ea051dd4-adc5-46dc-bb80-8ca847fcc2d8" providerId="ADAL" clId="{7EA2BB86-E007-45EB-866C-9A595ED0A894}" dt="2022-11-23T06:47:49.013" v="1955" actId="20577"/>
          <ac:spMkLst>
            <pc:docMk/>
            <pc:sldMk cId="1415322796" sldId="663"/>
            <ac:spMk id="3" creationId="{F676F119-8E53-44B5-A52A-0546F53E2F6C}"/>
          </ac:spMkLst>
        </pc:spChg>
        <pc:graphicFrameChg chg="add mod">
          <ac:chgData name="Lin, Sibo" userId="ea051dd4-adc5-46dc-bb80-8ca847fcc2d8" providerId="ADAL" clId="{7EA2BB86-E007-45EB-866C-9A595ED0A894}" dt="2022-11-23T06:28:52.358" v="1684"/>
          <ac:graphicFrameMkLst>
            <pc:docMk/>
            <pc:sldMk cId="1415322796" sldId="663"/>
            <ac:graphicFrameMk id="4" creationId="{EA384545-EC03-ABEA-8107-B1D6A08E5721}"/>
          </ac:graphicFrameMkLst>
        </pc:graphicFrameChg>
      </pc:sldChg>
      <pc:sldChg chg="addSp modSp add mod modAnim">
        <pc:chgData name="Lin, Sibo" userId="ea051dd4-adc5-46dc-bb80-8ca847fcc2d8" providerId="ADAL" clId="{7EA2BB86-E007-45EB-866C-9A595ED0A894}" dt="2022-11-23T07:47:26.186" v="3151" actId="571"/>
        <pc:sldMkLst>
          <pc:docMk/>
          <pc:sldMk cId="1496619361" sldId="664"/>
        </pc:sldMkLst>
        <pc:spChg chg="mod">
          <ac:chgData name="Lin, Sibo" userId="ea051dd4-adc5-46dc-bb80-8ca847fcc2d8" providerId="ADAL" clId="{7EA2BB86-E007-45EB-866C-9A595ED0A894}" dt="2022-11-23T07:30:11.387" v="2050" actId="20577"/>
          <ac:spMkLst>
            <pc:docMk/>
            <pc:sldMk cId="1496619361" sldId="664"/>
            <ac:spMk id="3" creationId="{F676F119-8E53-44B5-A52A-0546F53E2F6C}"/>
          </ac:spMkLst>
        </pc:spChg>
        <pc:spChg chg="mod">
          <ac:chgData name="Lin, Sibo" userId="ea051dd4-adc5-46dc-bb80-8ca847fcc2d8" providerId="ADAL" clId="{7EA2BB86-E007-45EB-866C-9A595ED0A894}" dt="2022-11-23T07:36:17.587" v="2572" actId="20577"/>
          <ac:spMkLst>
            <pc:docMk/>
            <pc:sldMk cId="1496619361" sldId="664"/>
            <ac:spMk id="5" creationId="{FDBF8E1D-5A11-0B26-15CA-84DC54330625}"/>
          </ac:spMkLst>
        </pc:spChg>
        <pc:spChg chg="add mod">
          <ac:chgData name="Lin, Sibo" userId="ea051dd4-adc5-46dc-bb80-8ca847fcc2d8" providerId="ADAL" clId="{7EA2BB86-E007-45EB-866C-9A595ED0A894}" dt="2022-11-23T07:35:45.579" v="2561" actId="1037"/>
          <ac:spMkLst>
            <pc:docMk/>
            <pc:sldMk cId="1496619361" sldId="664"/>
            <ac:spMk id="6" creationId="{51E72D1E-BC01-54EA-F13A-CBF330C85C89}"/>
          </ac:spMkLst>
        </pc:spChg>
        <pc:graphicFrameChg chg="add mod">
          <ac:chgData name="Lin, Sibo" userId="ea051dd4-adc5-46dc-bb80-8ca847fcc2d8" providerId="ADAL" clId="{7EA2BB86-E007-45EB-866C-9A595ED0A894}" dt="2022-11-23T07:47:26.186" v="3151" actId="571"/>
          <ac:graphicFrameMkLst>
            <pc:docMk/>
            <pc:sldMk cId="1496619361" sldId="664"/>
            <ac:graphicFrameMk id="10" creationId="{3C4F3B74-7192-C007-B629-B66AF69148A0}"/>
          </ac:graphicFrameMkLst>
        </pc:graphicFrameChg>
        <pc:graphicFrameChg chg="add mod">
          <ac:chgData name="Lin, Sibo" userId="ea051dd4-adc5-46dc-bb80-8ca847fcc2d8" providerId="ADAL" clId="{7EA2BB86-E007-45EB-866C-9A595ED0A894}" dt="2022-11-23T07:47:26.186" v="3151" actId="571"/>
          <ac:graphicFrameMkLst>
            <pc:docMk/>
            <pc:sldMk cId="1496619361" sldId="664"/>
            <ac:graphicFrameMk id="11" creationId="{23051C6D-943C-44BE-81CF-FF51DD4C706B}"/>
          </ac:graphicFrameMkLst>
        </pc:graphicFrameChg>
      </pc:sldChg>
      <pc:sldChg chg="addSp modSp add del mod modAnim">
        <pc:chgData name="Lin, Sibo" userId="ea051dd4-adc5-46dc-bb80-8ca847fcc2d8" providerId="ADAL" clId="{7EA2BB86-E007-45EB-866C-9A595ED0A894}" dt="2022-11-23T07:28:52.389" v="2024" actId="2696"/>
        <pc:sldMkLst>
          <pc:docMk/>
          <pc:sldMk cId="1623370150" sldId="664"/>
        </pc:sldMkLst>
        <pc:spChg chg="mod">
          <ac:chgData name="Lin, Sibo" userId="ea051dd4-adc5-46dc-bb80-8ca847fcc2d8" providerId="ADAL" clId="{7EA2BB86-E007-45EB-866C-9A595ED0A894}" dt="2022-11-23T06:44:23.920" v="1705" actId="20577"/>
          <ac:spMkLst>
            <pc:docMk/>
            <pc:sldMk cId="1623370150" sldId="664"/>
            <ac:spMk id="2" creationId="{A5C72B55-903D-F229-2857-42662812D805}"/>
          </ac:spMkLst>
        </pc:spChg>
        <pc:spChg chg="mod">
          <ac:chgData name="Lin, Sibo" userId="ea051dd4-adc5-46dc-bb80-8ca847fcc2d8" providerId="ADAL" clId="{7EA2BB86-E007-45EB-866C-9A595ED0A894}" dt="2022-11-23T06:47:55.594" v="1966" actId="20577"/>
          <ac:spMkLst>
            <pc:docMk/>
            <pc:sldMk cId="1623370150" sldId="664"/>
            <ac:spMk id="3" creationId="{F676F119-8E53-44B5-A52A-0546F53E2F6C}"/>
          </ac:spMkLst>
        </pc:spChg>
        <pc:spChg chg="add mod">
          <ac:chgData name="Lin, Sibo" userId="ea051dd4-adc5-46dc-bb80-8ca847fcc2d8" providerId="ADAL" clId="{7EA2BB86-E007-45EB-866C-9A595ED0A894}" dt="2022-11-23T06:46:09.371" v="1942" actId="20577"/>
          <ac:spMkLst>
            <pc:docMk/>
            <pc:sldMk cId="1623370150" sldId="664"/>
            <ac:spMk id="5" creationId="{FDBF8E1D-5A11-0B26-15CA-84DC54330625}"/>
          </ac:spMkLst>
        </pc:spChg>
        <pc:graphicFrameChg chg="add mod">
          <ac:chgData name="Lin, Sibo" userId="ea051dd4-adc5-46dc-bb80-8ca847fcc2d8" providerId="ADAL" clId="{7EA2BB86-E007-45EB-866C-9A595ED0A894}" dt="2022-11-23T06:29:24.504" v="1686"/>
          <ac:graphicFrameMkLst>
            <pc:docMk/>
            <pc:sldMk cId="1623370150" sldId="664"/>
            <ac:graphicFrameMk id="4" creationId="{00EA626C-3E7F-DC8E-A229-9D9BC49B3A5E}"/>
          </ac:graphicFrameMkLst>
        </pc:graphicFrameChg>
      </pc:sldChg>
      <pc:sldChg chg="ord">
        <pc:chgData name="Lin, Sibo" userId="ea051dd4-adc5-46dc-bb80-8ca847fcc2d8" providerId="ADAL" clId="{7EA2BB86-E007-45EB-866C-9A595ED0A894}" dt="2022-11-23T07:27:22.626" v="2023"/>
        <pc:sldMkLst>
          <pc:docMk/>
          <pc:sldMk cId="1117708943" sldId="667"/>
        </pc:sldMkLst>
      </pc:sldChg>
      <pc:sldChg chg="addSp delSp modSp mod ord addAnim delAnim modAnim">
        <pc:chgData name="Lin, Sibo" userId="ea051dd4-adc5-46dc-bb80-8ca847fcc2d8" providerId="ADAL" clId="{7EA2BB86-E007-45EB-866C-9A595ED0A894}" dt="2022-11-23T07:26:59.547" v="2019"/>
        <pc:sldMkLst>
          <pc:docMk/>
          <pc:sldMk cId="2559901417" sldId="673"/>
        </pc:sldMkLst>
        <pc:spChg chg="mod ord">
          <ac:chgData name="Lin, Sibo" userId="ea051dd4-adc5-46dc-bb80-8ca847fcc2d8" providerId="ADAL" clId="{7EA2BB86-E007-45EB-866C-9A595ED0A894}" dt="2022-11-23T02:08:57.585" v="602" actId="20577"/>
          <ac:spMkLst>
            <pc:docMk/>
            <pc:sldMk cId="2559901417" sldId="673"/>
            <ac:spMk id="8" creationId="{9F32D644-4AC2-466D-ABE9-6B40720852C2}"/>
          </ac:spMkLst>
        </pc:spChg>
        <pc:spChg chg="mod">
          <ac:chgData name="Lin, Sibo" userId="ea051dd4-adc5-46dc-bb80-8ca847fcc2d8" providerId="ADAL" clId="{7EA2BB86-E007-45EB-866C-9A595ED0A894}" dt="2022-11-23T02:07:06.507" v="537" actId="1076"/>
          <ac:spMkLst>
            <pc:docMk/>
            <pc:sldMk cId="2559901417" sldId="673"/>
            <ac:spMk id="10" creationId="{17E2D1A8-233E-447E-9CB5-E21FE9D8A0C4}"/>
          </ac:spMkLst>
        </pc:spChg>
        <pc:spChg chg="add del">
          <ac:chgData name="Lin, Sibo" userId="ea051dd4-adc5-46dc-bb80-8ca847fcc2d8" providerId="ADAL" clId="{7EA2BB86-E007-45EB-866C-9A595ED0A894}" dt="2022-11-23T01:26:54.818" v="103" actId="22"/>
          <ac:spMkLst>
            <pc:docMk/>
            <pc:sldMk cId="2559901417" sldId="673"/>
            <ac:spMk id="11" creationId="{2E4658B4-7FC4-453A-C421-B7E6A1D0ABCD}"/>
          </ac:spMkLst>
        </pc:spChg>
        <pc:spChg chg="mod">
          <ac:chgData name="Lin, Sibo" userId="ea051dd4-adc5-46dc-bb80-8ca847fcc2d8" providerId="ADAL" clId="{7EA2BB86-E007-45EB-866C-9A595ED0A894}" dt="2022-11-23T02:05:10.382" v="514" actId="20577"/>
          <ac:spMkLst>
            <pc:docMk/>
            <pc:sldMk cId="2559901417" sldId="673"/>
            <ac:spMk id="12" creationId="{A502DCA6-B81F-44F5-9F01-51C32F7F21F4}"/>
          </ac:spMkLst>
        </pc:spChg>
        <pc:spChg chg="mod">
          <ac:chgData name="Lin, Sibo" userId="ea051dd4-adc5-46dc-bb80-8ca847fcc2d8" providerId="ADAL" clId="{7EA2BB86-E007-45EB-866C-9A595ED0A894}" dt="2022-11-23T02:06:00.725" v="515" actId="1076"/>
          <ac:spMkLst>
            <pc:docMk/>
            <pc:sldMk cId="2559901417" sldId="673"/>
            <ac:spMk id="13" creationId="{C4924EEA-AF5D-4957-8EC5-4C4E4E0EC2DB}"/>
          </ac:spMkLst>
        </pc:spChg>
        <pc:spChg chg="del">
          <ac:chgData name="Lin, Sibo" userId="ea051dd4-adc5-46dc-bb80-8ca847fcc2d8" providerId="ADAL" clId="{7EA2BB86-E007-45EB-866C-9A595ED0A894}" dt="2022-11-23T01:25:16.599" v="82" actId="478"/>
          <ac:spMkLst>
            <pc:docMk/>
            <pc:sldMk cId="2559901417" sldId="673"/>
            <ac:spMk id="16" creationId="{47D047FC-D826-459A-8904-6CD590958E24}"/>
          </ac:spMkLst>
        </pc:spChg>
        <pc:spChg chg="add del mod">
          <ac:chgData name="Lin, Sibo" userId="ea051dd4-adc5-46dc-bb80-8ca847fcc2d8" providerId="ADAL" clId="{7EA2BB86-E007-45EB-866C-9A595ED0A894}" dt="2022-11-23T02:03:49.746" v="278" actId="21"/>
          <ac:spMkLst>
            <pc:docMk/>
            <pc:sldMk cId="2559901417" sldId="673"/>
            <ac:spMk id="18" creationId="{892CE1D2-FCDC-6888-819C-29CEAD3A2A4E}"/>
          </ac:spMkLst>
        </pc:spChg>
        <pc:spChg chg="mod">
          <ac:chgData name="Lin, Sibo" userId="ea051dd4-adc5-46dc-bb80-8ca847fcc2d8" providerId="ADAL" clId="{7EA2BB86-E007-45EB-866C-9A595ED0A894}" dt="2022-11-23T02:04:31.607" v="281" actId="20577"/>
          <ac:spMkLst>
            <pc:docMk/>
            <pc:sldMk cId="2559901417" sldId="673"/>
            <ac:spMk id="19" creationId="{00000000-0000-0000-0000-000000000000}"/>
          </ac:spMkLst>
        </pc:spChg>
        <pc:spChg chg="add del mod">
          <ac:chgData name="Lin, Sibo" userId="ea051dd4-adc5-46dc-bb80-8ca847fcc2d8" providerId="ADAL" clId="{7EA2BB86-E007-45EB-866C-9A595ED0A894}" dt="2022-11-23T01:30:49.694" v="180" actId="767"/>
          <ac:spMkLst>
            <pc:docMk/>
            <pc:sldMk cId="2559901417" sldId="673"/>
            <ac:spMk id="29" creationId="{A361C461-2116-AEBB-4D98-203707C51565}"/>
          </ac:spMkLst>
        </pc:spChg>
        <pc:spChg chg="mod">
          <ac:chgData name="Lin, Sibo" userId="ea051dd4-adc5-46dc-bb80-8ca847fcc2d8" providerId="ADAL" clId="{7EA2BB86-E007-45EB-866C-9A595ED0A894}" dt="2022-11-23T02:06:00.725" v="515" actId="1076"/>
          <ac:spMkLst>
            <pc:docMk/>
            <pc:sldMk cId="2559901417" sldId="673"/>
            <ac:spMk id="34" creationId="{04308767-BED8-423C-8EEE-B12F7A412435}"/>
          </ac:spMkLst>
        </pc:spChg>
        <pc:spChg chg="add del">
          <ac:chgData name="Lin, Sibo" userId="ea051dd4-adc5-46dc-bb80-8ca847fcc2d8" providerId="ADAL" clId="{7EA2BB86-E007-45EB-866C-9A595ED0A894}" dt="2022-11-23T01:40:40.891" v="240" actId="11529"/>
          <ac:spMkLst>
            <pc:docMk/>
            <pc:sldMk cId="2559901417" sldId="673"/>
            <ac:spMk id="36" creationId="{EB043582-8CAA-A2D1-4AD9-2C3ADBE41581}"/>
          </ac:spMkLst>
        </pc:spChg>
        <pc:spChg chg="add del mod ord">
          <ac:chgData name="Lin, Sibo" userId="ea051dd4-adc5-46dc-bb80-8ca847fcc2d8" providerId="ADAL" clId="{7EA2BB86-E007-45EB-866C-9A595ED0A894}" dt="2022-11-23T02:03:49.746" v="278" actId="21"/>
          <ac:spMkLst>
            <pc:docMk/>
            <pc:sldMk cId="2559901417" sldId="673"/>
            <ac:spMk id="37" creationId="{A4C70E72-FCAE-C7F9-AF25-73F5B7FD11E5}"/>
          </ac:spMkLst>
        </pc:spChg>
        <pc:spChg chg="add del mod">
          <ac:chgData name="Lin, Sibo" userId="ea051dd4-adc5-46dc-bb80-8ca847fcc2d8" providerId="ADAL" clId="{7EA2BB86-E007-45EB-866C-9A595ED0A894}" dt="2022-11-23T02:03:49.746" v="278" actId="21"/>
          <ac:spMkLst>
            <pc:docMk/>
            <pc:sldMk cId="2559901417" sldId="673"/>
            <ac:spMk id="41" creationId="{02168300-0721-208C-37F4-36C90CD01268}"/>
          </ac:spMkLst>
        </pc:spChg>
        <pc:grpChg chg="mod">
          <ac:chgData name="Lin, Sibo" userId="ea051dd4-adc5-46dc-bb80-8ca847fcc2d8" providerId="ADAL" clId="{7EA2BB86-E007-45EB-866C-9A595ED0A894}" dt="2022-11-23T02:06:00.725" v="515" actId="1076"/>
          <ac:grpSpMkLst>
            <pc:docMk/>
            <pc:sldMk cId="2559901417" sldId="673"/>
            <ac:grpSpMk id="20" creationId="{0385C119-F46F-4954-820B-FEE6CD8D97C5}"/>
          </ac:grpSpMkLst>
        </pc:grpChg>
        <pc:graphicFrameChg chg="add del mod">
          <ac:chgData name="Lin, Sibo" userId="ea051dd4-adc5-46dc-bb80-8ca847fcc2d8" providerId="ADAL" clId="{7EA2BB86-E007-45EB-866C-9A595ED0A894}" dt="2022-11-23T01:22:48.744" v="47"/>
          <ac:graphicFrameMkLst>
            <pc:docMk/>
            <pc:sldMk cId="2559901417" sldId="673"/>
            <ac:graphicFrameMk id="2" creationId="{23B9395C-E28E-21CD-5FE0-79AD806AEB9B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1:22:48.744" v="47"/>
          <ac:graphicFrameMkLst>
            <pc:docMk/>
            <pc:sldMk cId="2559901417" sldId="673"/>
            <ac:graphicFrameMk id="4" creationId="{2A881B32-6D8F-D8FF-EA20-7FC1A2A31CA3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2:03:49.746" v="278" actId="21"/>
          <ac:graphicFrameMkLst>
            <pc:docMk/>
            <pc:sldMk cId="2559901417" sldId="673"/>
            <ac:graphicFrameMk id="14" creationId="{641A2453-EEDE-657F-2175-EE803E9168D2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2:03:49.746" v="278" actId="21"/>
          <ac:graphicFrameMkLst>
            <pc:docMk/>
            <pc:sldMk cId="2559901417" sldId="673"/>
            <ac:graphicFrameMk id="15" creationId="{02A22A6C-3400-6359-F71C-FECD152A58D6}"/>
          </ac:graphicFrameMkLst>
        </pc:graphicFrameChg>
        <pc:graphicFrameChg chg="del">
          <ac:chgData name="Lin, Sibo" userId="ea051dd4-adc5-46dc-bb80-8ca847fcc2d8" providerId="ADAL" clId="{7EA2BB86-E007-45EB-866C-9A595ED0A894}" dt="2022-11-23T01:27:15.370" v="106" actId="478"/>
          <ac:graphicFrameMkLst>
            <pc:docMk/>
            <pc:sldMk cId="2559901417" sldId="673"/>
            <ac:graphicFrameMk id="32" creationId="{BCCE8B13-4FF5-49FC-B8BB-2E4CC75B78BF}"/>
          </ac:graphicFrameMkLst>
        </pc:graphicFrameChg>
        <pc:graphicFrameChg chg="del mod">
          <ac:chgData name="Lin, Sibo" userId="ea051dd4-adc5-46dc-bb80-8ca847fcc2d8" providerId="ADAL" clId="{7EA2BB86-E007-45EB-866C-9A595ED0A894}" dt="2022-11-23T01:27:10.090" v="105" actId="478"/>
          <ac:graphicFrameMkLst>
            <pc:docMk/>
            <pc:sldMk cId="2559901417" sldId="673"/>
            <ac:graphicFrameMk id="33" creationId="{16DA611C-9133-4C13-A791-E7EAD9E997D7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2:03:49.746" v="278" actId="21"/>
          <ac:graphicFrameMkLst>
            <pc:docMk/>
            <pc:sldMk cId="2559901417" sldId="673"/>
            <ac:graphicFrameMk id="35" creationId="{A79079FE-179E-FDB9-6238-31D9BCF48EF5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2:03:49.746" v="278" actId="21"/>
          <ac:graphicFrameMkLst>
            <pc:docMk/>
            <pc:sldMk cId="2559901417" sldId="673"/>
            <ac:graphicFrameMk id="40" creationId="{6DA4B91C-2543-70F5-8F8E-0BF7B68CAD58}"/>
          </ac:graphicFrameMkLst>
        </pc:graphicFrameChg>
        <pc:picChg chg="mod">
          <ac:chgData name="Lin, Sibo" userId="ea051dd4-adc5-46dc-bb80-8ca847fcc2d8" providerId="ADAL" clId="{7EA2BB86-E007-45EB-866C-9A595ED0A894}" dt="2022-11-23T02:07:01.774" v="536" actId="14100"/>
          <ac:picMkLst>
            <pc:docMk/>
            <pc:sldMk cId="2559901417" sldId="673"/>
            <ac:picMk id="5" creationId="{DD26B37E-9274-48B5-A5FE-9BB4931A8184}"/>
          </ac:picMkLst>
        </pc:picChg>
        <pc:picChg chg="mod">
          <ac:chgData name="Lin, Sibo" userId="ea051dd4-adc5-46dc-bb80-8ca847fcc2d8" providerId="ADAL" clId="{7EA2BB86-E007-45EB-866C-9A595ED0A894}" dt="2022-11-23T02:06:56.944" v="534" actId="1076"/>
          <ac:picMkLst>
            <pc:docMk/>
            <pc:sldMk cId="2559901417" sldId="673"/>
            <ac:picMk id="7" creationId="{15C796A9-EED6-4AFE-BE73-82D97CD0F324}"/>
          </ac:picMkLst>
        </pc:picChg>
        <pc:picChg chg="mod">
          <ac:chgData name="Lin, Sibo" userId="ea051dd4-adc5-46dc-bb80-8ca847fcc2d8" providerId="ADAL" clId="{7EA2BB86-E007-45EB-866C-9A595ED0A894}" dt="2022-11-23T02:06:00.725" v="515" actId="1076"/>
          <ac:picMkLst>
            <pc:docMk/>
            <pc:sldMk cId="2559901417" sldId="673"/>
            <ac:picMk id="17" creationId="{E16BD868-2BA9-432B-AE94-808C6B28EE80}"/>
          </ac:picMkLst>
        </pc:picChg>
        <pc:picChg chg="add del mod">
          <ac:chgData name="Lin, Sibo" userId="ea051dd4-adc5-46dc-bb80-8ca847fcc2d8" providerId="ADAL" clId="{7EA2BB86-E007-45EB-866C-9A595ED0A894}" dt="2022-11-23T02:03:49.746" v="278" actId="21"/>
          <ac:picMkLst>
            <pc:docMk/>
            <pc:sldMk cId="2559901417" sldId="673"/>
            <ac:picMk id="31" creationId="{5BF1D252-B592-1F86-7118-5BD178AB2A01}"/>
          </ac:picMkLst>
        </pc:picChg>
        <pc:picChg chg="add del mod">
          <ac:chgData name="Lin, Sibo" userId="ea051dd4-adc5-46dc-bb80-8ca847fcc2d8" providerId="ADAL" clId="{7EA2BB86-E007-45EB-866C-9A595ED0A894}" dt="2022-11-23T02:03:49.746" v="278" actId="21"/>
          <ac:picMkLst>
            <pc:docMk/>
            <pc:sldMk cId="2559901417" sldId="673"/>
            <ac:picMk id="39" creationId="{550E839A-2BC9-E07D-E56C-C3D0A120EF43}"/>
          </ac:picMkLst>
        </pc:picChg>
      </pc:sldChg>
      <pc:sldChg chg="addSp delSp modSp mod delAnim modAnim modNotesTx">
        <pc:chgData name="Lin, Sibo" userId="ea051dd4-adc5-46dc-bb80-8ca847fcc2d8" providerId="ADAL" clId="{7EA2BB86-E007-45EB-866C-9A595ED0A894}" dt="2022-11-23T17:15:51.274" v="3690" actId="20577"/>
        <pc:sldMkLst>
          <pc:docMk/>
          <pc:sldMk cId="2389140596" sldId="678"/>
        </pc:sldMkLst>
        <pc:spChg chg="mod">
          <ac:chgData name="Lin, Sibo" userId="ea051dd4-adc5-46dc-bb80-8ca847fcc2d8" providerId="ADAL" clId="{7EA2BB86-E007-45EB-866C-9A595ED0A894}" dt="2022-11-23T04:36:34.957" v="1439"/>
          <ac:spMkLst>
            <pc:docMk/>
            <pc:sldMk cId="2389140596" sldId="678"/>
            <ac:spMk id="6" creationId="{A525DED2-5805-5330-65E0-B9F9CB0DA7AD}"/>
          </ac:spMkLst>
        </pc:spChg>
        <pc:spChg chg="mod">
          <ac:chgData name="Lin, Sibo" userId="ea051dd4-adc5-46dc-bb80-8ca847fcc2d8" providerId="ADAL" clId="{7EA2BB86-E007-45EB-866C-9A595ED0A894}" dt="2022-11-23T04:36:34.957" v="1439"/>
          <ac:spMkLst>
            <pc:docMk/>
            <pc:sldMk cId="2389140596" sldId="678"/>
            <ac:spMk id="7" creationId="{F2AC0046-5375-06E9-0919-673F0F13B2E3}"/>
          </ac:spMkLst>
        </pc:spChg>
        <pc:spChg chg="mod">
          <ac:chgData name="Lin, Sibo" userId="ea051dd4-adc5-46dc-bb80-8ca847fcc2d8" providerId="ADAL" clId="{7EA2BB86-E007-45EB-866C-9A595ED0A894}" dt="2022-11-23T16:28:15.530" v="3518" actId="1076"/>
          <ac:spMkLst>
            <pc:docMk/>
            <pc:sldMk cId="2389140596" sldId="678"/>
            <ac:spMk id="14" creationId="{3F8DBD77-FCF4-4D00-B05D-0229DD471202}"/>
          </ac:spMkLst>
        </pc:spChg>
        <pc:spChg chg="mod">
          <ac:chgData name="Lin, Sibo" userId="ea051dd4-adc5-46dc-bb80-8ca847fcc2d8" providerId="ADAL" clId="{7EA2BB86-E007-45EB-866C-9A595ED0A894}" dt="2022-11-23T04:40:59.339" v="1448" actId="14100"/>
          <ac:spMkLst>
            <pc:docMk/>
            <pc:sldMk cId="2389140596" sldId="678"/>
            <ac:spMk id="18" creationId="{DCE73AF9-6D93-B0C4-C610-0C05C01189C3}"/>
          </ac:spMkLst>
        </pc:spChg>
        <pc:spChg chg="mod">
          <ac:chgData name="Lin, Sibo" userId="ea051dd4-adc5-46dc-bb80-8ca847fcc2d8" providerId="ADAL" clId="{7EA2BB86-E007-45EB-866C-9A595ED0A894}" dt="2022-11-23T04:41:46.599" v="1454" actId="1076"/>
          <ac:spMkLst>
            <pc:docMk/>
            <pc:sldMk cId="2389140596" sldId="678"/>
            <ac:spMk id="19" creationId="{ED898603-5103-9113-6728-78806C3F5201}"/>
          </ac:spMkLst>
        </pc:spChg>
        <pc:spChg chg="add mod">
          <ac:chgData name="Lin, Sibo" userId="ea051dd4-adc5-46dc-bb80-8ca847fcc2d8" providerId="ADAL" clId="{7EA2BB86-E007-45EB-866C-9A595ED0A894}" dt="2022-11-23T17:15:07.637" v="3638" actId="1076"/>
          <ac:spMkLst>
            <pc:docMk/>
            <pc:sldMk cId="2389140596" sldId="678"/>
            <ac:spMk id="22" creationId="{C88B010E-DCFC-293A-D7A9-881DC1B9D18C}"/>
          </ac:spMkLst>
        </pc:spChg>
        <pc:grpChg chg="add del mod">
          <ac:chgData name="Lin, Sibo" userId="ea051dd4-adc5-46dc-bb80-8ca847fcc2d8" providerId="ADAL" clId="{7EA2BB86-E007-45EB-866C-9A595ED0A894}" dt="2022-11-23T04:36:37.279" v="1440"/>
          <ac:grpSpMkLst>
            <pc:docMk/>
            <pc:sldMk cId="2389140596" sldId="678"/>
            <ac:grpSpMk id="3" creationId="{0588B7F6-6C87-1DF8-1227-CC8D5A4AF366}"/>
          </ac:grpSpMkLst>
        </pc:grpChg>
        <pc:grpChg chg="add mod">
          <ac:chgData name="Lin, Sibo" userId="ea051dd4-adc5-46dc-bb80-8ca847fcc2d8" providerId="ADAL" clId="{7EA2BB86-E007-45EB-866C-9A595ED0A894}" dt="2022-11-23T04:36:52.735" v="1443" actId="1076"/>
          <ac:grpSpMkLst>
            <pc:docMk/>
            <pc:sldMk cId="2389140596" sldId="678"/>
            <ac:grpSpMk id="9" creationId="{42D1D669-4B19-46DA-3684-2C36996BE12E}"/>
          </ac:grpSpMkLst>
        </pc:grpChg>
        <pc:grpChg chg="del">
          <ac:chgData name="Lin, Sibo" userId="ea051dd4-adc5-46dc-bb80-8ca847fcc2d8" providerId="ADAL" clId="{7EA2BB86-E007-45EB-866C-9A595ED0A894}" dt="2022-11-23T04:41:15.452" v="1449" actId="478"/>
          <ac:grpSpMkLst>
            <pc:docMk/>
            <pc:sldMk cId="2389140596" sldId="678"/>
            <ac:grpSpMk id="13" creationId="{5901172A-3E31-4735-9213-02E866721EAE}"/>
          </ac:grpSpMkLst>
        </pc:grpChg>
        <pc:graphicFrameChg chg="add mod">
          <ac:chgData name="Lin, Sibo" userId="ea051dd4-adc5-46dc-bb80-8ca847fcc2d8" providerId="ADAL" clId="{7EA2BB86-E007-45EB-866C-9A595ED0A894}" dt="2022-11-23T17:14:28.959" v="3604" actId="1076"/>
          <ac:graphicFrameMkLst>
            <pc:docMk/>
            <pc:sldMk cId="2389140596" sldId="678"/>
            <ac:graphicFrameMk id="23" creationId="{AFADBDA1-EA8B-3A52-F4AC-4065F74FB422}"/>
          </ac:graphicFrameMkLst>
        </pc:graphicFrameChg>
        <pc:picChg chg="mod">
          <ac:chgData name="Lin, Sibo" userId="ea051dd4-adc5-46dc-bb80-8ca847fcc2d8" providerId="ADAL" clId="{7EA2BB86-E007-45EB-866C-9A595ED0A894}" dt="2022-11-23T04:36:34.957" v="1439"/>
          <ac:picMkLst>
            <pc:docMk/>
            <pc:sldMk cId="2389140596" sldId="678"/>
            <ac:picMk id="5" creationId="{E90CBD33-B7D3-EB04-603A-99345A35DE96}"/>
          </ac:picMkLst>
        </pc:picChg>
        <pc:picChg chg="mod">
          <ac:chgData name="Lin, Sibo" userId="ea051dd4-adc5-46dc-bb80-8ca847fcc2d8" providerId="ADAL" clId="{7EA2BB86-E007-45EB-866C-9A595ED0A894}" dt="2022-11-23T04:36:34.957" v="1439"/>
          <ac:picMkLst>
            <pc:docMk/>
            <pc:sldMk cId="2389140596" sldId="678"/>
            <ac:picMk id="8" creationId="{8926DE24-E019-006A-9D63-2AB4F38068CE}"/>
          </ac:picMkLst>
        </pc:picChg>
        <pc:picChg chg="del">
          <ac:chgData name="Lin, Sibo" userId="ea051dd4-adc5-46dc-bb80-8ca847fcc2d8" providerId="ADAL" clId="{7EA2BB86-E007-45EB-866C-9A595ED0A894}" dt="2022-11-23T17:14:25.873" v="3603" actId="478"/>
          <ac:picMkLst>
            <pc:docMk/>
            <pc:sldMk cId="2389140596" sldId="678"/>
            <ac:picMk id="10" creationId="{B7108F40-9F4F-4219-85D2-1468F2C5728A}"/>
          </ac:picMkLst>
        </pc:picChg>
        <pc:picChg chg="del">
          <ac:chgData name="Lin, Sibo" userId="ea051dd4-adc5-46dc-bb80-8ca847fcc2d8" providerId="ADAL" clId="{7EA2BB86-E007-45EB-866C-9A595ED0A894}" dt="2022-11-23T04:40:06.324" v="1444" actId="478"/>
          <ac:picMkLst>
            <pc:docMk/>
            <pc:sldMk cId="2389140596" sldId="678"/>
            <ac:picMk id="16" creationId="{5325A760-52A7-4D06-83AC-A09488DC67A4}"/>
          </ac:picMkLst>
        </pc:picChg>
        <pc:picChg chg="mod">
          <ac:chgData name="Lin, Sibo" userId="ea051dd4-adc5-46dc-bb80-8ca847fcc2d8" providerId="ADAL" clId="{7EA2BB86-E007-45EB-866C-9A595ED0A894}" dt="2022-11-23T04:41:44.140" v="1453" actId="1076"/>
          <ac:picMkLst>
            <pc:docMk/>
            <pc:sldMk cId="2389140596" sldId="678"/>
            <ac:picMk id="17" creationId="{CC1713A0-508D-D0FB-9823-ADCD4A8F9281}"/>
          </ac:picMkLst>
        </pc:picChg>
        <pc:picChg chg="mod">
          <ac:chgData name="Lin, Sibo" userId="ea051dd4-adc5-46dc-bb80-8ca847fcc2d8" providerId="ADAL" clId="{7EA2BB86-E007-45EB-866C-9A595ED0A894}" dt="2022-11-23T04:41:30.059" v="1451" actId="1076"/>
          <ac:picMkLst>
            <pc:docMk/>
            <pc:sldMk cId="2389140596" sldId="678"/>
            <ac:picMk id="20" creationId="{D592D334-46FA-4471-D497-BBA64C4C5880}"/>
          </ac:picMkLst>
        </pc:picChg>
      </pc:sldChg>
      <pc:sldChg chg="addSp delSp modSp mod modAnim">
        <pc:chgData name="Lin, Sibo" userId="ea051dd4-adc5-46dc-bb80-8ca847fcc2d8" providerId="ADAL" clId="{7EA2BB86-E007-45EB-866C-9A595ED0A894}" dt="2022-11-23T16:58:19.102" v="3557" actId="1038"/>
        <pc:sldMkLst>
          <pc:docMk/>
          <pc:sldMk cId="3674178583" sldId="679"/>
        </pc:sldMkLst>
        <pc:spChg chg="mod">
          <ac:chgData name="Lin, Sibo" userId="ea051dd4-adc5-46dc-bb80-8ca847fcc2d8" providerId="ADAL" clId="{7EA2BB86-E007-45EB-866C-9A595ED0A894}" dt="2022-11-23T15:44:10.716" v="3507" actId="14100"/>
          <ac:spMkLst>
            <pc:docMk/>
            <pc:sldMk cId="3674178583" sldId="679"/>
            <ac:spMk id="2" creationId="{909A0649-09AF-4E8E-BC3B-225D35447F88}"/>
          </ac:spMkLst>
        </pc:spChg>
        <pc:spChg chg="add mod">
          <ac:chgData name="Lin, Sibo" userId="ea051dd4-adc5-46dc-bb80-8ca847fcc2d8" providerId="ADAL" clId="{7EA2BB86-E007-45EB-866C-9A595ED0A894}" dt="2022-11-23T15:42:52.276" v="3499" actId="20577"/>
          <ac:spMkLst>
            <pc:docMk/>
            <pc:sldMk cId="3674178583" sldId="679"/>
            <ac:spMk id="10" creationId="{04FD34E2-7A92-B83B-EE7E-F508954D5808}"/>
          </ac:spMkLst>
        </pc:spChg>
        <pc:spChg chg="del mod">
          <ac:chgData name="Lin, Sibo" userId="ea051dd4-adc5-46dc-bb80-8ca847fcc2d8" providerId="ADAL" clId="{7EA2BB86-E007-45EB-866C-9A595ED0A894}" dt="2022-11-23T15:43:40.489" v="3505" actId="478"/>
          <ac:spMkLst>
            <pc:docMk/>
            <pc:sldMk cId="3674178583" sldId="679"/>
            <ac:spMk id="301" creationId="{A071BBB6-0793-431C-8167-DB0E7B371B05}"/>
          </ac:spMkLst>
        </pc:spChg>
        <pc:spChg chg="del">
          <ac:chgData name="Lin, Sibo" userId="ea051dd4-adc5-46dc-bb80-8ca847fcc2d8" providerId="ADAL" clId="{7EA2BB86-E007-45EB-866C-9A595ED0A894}" dt="2022-11-23T07:37:02.234" v="2578" actId="478"/>
          <ac:spMkLst>
            <pc:docMk/>
            <pc:sldMk cId="3674178583" sldId="679"/>
            <ac:spMk id="305" creationId="{D05C9E14-9F7E-40AD-8DE4-3A020C8988C1}"/>
          </ac:spMkLst>
        </pc:spChg>
        <pc:spChg chg="mod">
          <ac:chgData name="Lin, Sibo" userId="ea051dd4-adc5-46dc-bb80-8ca847fcc2d8" providerId="ADAL" clId="{7EA2BB86-E007-45EB-866C-9A595ED0A894}" dt="2022-11-23T16:58:19.102" v="3557" actId="1038"/>
          <ac:spMkLst>
            <pc:docMk/>
            <pc:sldMk cId="3674178583" sldId="679"/>
            <ac:spMk id="307" creationId="{45177229-C2EC-4EA3-99C3-ADC4B292B016}"/>
          </ac:spMkLst>
        </pc:spChg>
        <pc:spChg chg="add del mod">
          <ac:chgData name="Lin, Sibo" userId="ea051dd4-adc5-46dc-bb80-8ca847fcc2d8" providerId="ADAL" clId="{7EA2BB86-E007-45EB-866C-9A595ED0A894}" dt="2022-11-23T15:42:41.708" v="3494" actId="1035"/>
          <ac:spMkLst>
            <pc:docMk/>
            <pc:sldMk cId="3674178583" sldId="679"/>
            <ac:spMk id="310" creationId="{F6CA555F-AEA0-4C2D-B46B-5733B3C92B6C}"/>
          </ac:spMkLst>
        </pc:spChg>
        <pc:spChg chg="mod">
          <ac:chgData name="Lin, Sibo" userId="ea051dd4-adc5-46dc-bb80-8ca847fcc2d8" providerId="ADAL" clId="{7EA2BB86-E007-45EB-866C-9A595ED0A894}" dt="2022-11-23T15:42:41.708" v="3494" actId="1035"/>
          <ac:spMkLst>
            <pc:docMk/>
            <pc:sldMk cId="3674178583" sldId="679"/>
            <ac:spMk id="311" creationId="{85AC9A0E-0E8D-44C7-BDB5-2A8227C26399}"/>
          </ac:spMkLst>
        </pc:spChg>
        <pc:spChg chg="mod">
          <ac:chgData name="Lin, Sibo" userId="ea051dd4-adc5-46dc-bb80-8ca847fcc2d8" providerId="ADAL" clId="{7EA2BB86-E007-45EB-866C-9A595ED0A894}" dt="2022-11-23T16:58:07.394" v="3551" actId="1076"/>
          <ac:spMkLst>
            <pc:docMk/>
            <pc:sldMk cId="3674178583" sldId="679"/>
            <ac:spMk id="314" creationId="{39B02190-37DF-4D61-AC82-4625B58561AF}"/>
          </ac:spMkLst>
        </pc:spChg>
        <pc:spChg chg="mod">
          <ac:chgData name="Lin, Sibo" userId="ea051dd4-adc5-46dc-bb80-8ca847fcc2d8" providerId="ADAL" clId="{7EA2BB86-E007-45EB-866C-9A595ED0A894}" dt="2022-11-23T16:57:34.412" v="3543" actId="255"/>
          <ac:spMkLst>
            <pc:docMk/>
            <pc:sldMk cId="3674178583" sldId="679"/>
            <ac:spMk id="317" creationId="{BC05C770-50FB-453A-B019-830EC1E31D82}"/>
          </ac:spMkLst>
        </pc:spChg>
        <pc:spChg chg="mod">
          <ac:chgData name="Lin, Sibo" userId="ea051dd4-adc5-46dc-bb80-8ca847fcc2d8" providerId="ADAL" clId="{7EA2BB86-E007-45EB-866C-9A595ED0A894}" dt="2022-11-23T15:45:16.266" v="3511" actId="14100"/>
          <ac:spMkLst>
            <pc:docMk/>
            <pc:sldMk cId="3674178583" sldId="679"/>
            <ac:spMk id="328" creationId="{F4D59369-969D-44AF-B6B8-54F372B357E4}"/>
          </ac:spMkLst>
        </pc:spChg>
        <pc:spChg chg="mod">
          <ac:chgData name="Lin, Sibo" userId="ea051dd4-adc5-46dc-bb80-8ca847fcc2d8" providerId="ADAL" clId="{7EA2BB86-E007-45EB-866C-9A595ED0A894}" dt="2022-11-23T16:57:50.393" v="3547" actId="1076"/>
          <ac:spMkLst>
            <pc:docMk/>
            <pc:sldMk cId="3674178583" sldId="679"/>
            <ac:spMk id="331" creationId="{EBFD3454-E14B-4575-9509-683B9B403872}"/>
          </ac:spMkLst>
        </pc:spChg>
        <pc:grpChg chg="del">
          <ac:chgData name="Lin, Sibo" userId="ea051dd4-adc5-46dc-bb80-8ca847fcc2d8" providerId="ADAL" clId="{7EA2BB86-E007-45EB-866C-9A595ED0A894}" dt="2022-11-23T07:37:05.838" v="2579" actId="478"/>
          <ac:grpSpMkLst>
            <pc:docMk/>
            <pc:sldMk cId="3674178583" sldId="679"/>
            <ac:grpSpMk id="303" creationId="{3ABE5256-56F4-474B-8CE7-29FF2CEA6A02}"/>
          </ac:grpSpMkLst>
        </pc:grpChg>
        <pc:grpChg chg="del">
          <ac:chgData name="Lin, Sibo" userId="ea051dd4-adc5-46dc-bb80-8ca847fcc2d8" providerId="ADAL" clId="{7EA2BB86-E007-45EB-866C-9A595ED0A894}" dt="2022-11-23T07:36:58.020" v="2577" actId="478"/>
          <ac:grpSpMkLst>
            <pc:docMk/>
            <pc:sldMk cId="3674178583" sldId="679"/>
            <ac:grpSpMk id="304" creationId="{7130F25B-946D-4D5A-BF58-F43BE7BD09BD}"/>
          </ac:grpSpMkLst>
        </pc:grpChg>
        <pc:graphicFrameChg chg="add mod">
          <ac:chgData name="Lin, Sibo" userId="ea051dd4-adc5-46dc-bb80-8ca847fcc2d8" providerId="ADAL" clId="{7EA2BB86-E007-45EB-866C-9A595ED0A894}" dt="2022-11-23T15:45:20.750" v="3512" actId="1076"/>
          <ac:graphicFrameMkLst>
            <pc:docMk/>
            <pc:sldMk cId="3674178583" sldId="679"/>
            <ac:graphicFrameMk id="8" creationId="{486F3172-0629-7DAA-0332-FC4E07DB43DB}"/>
          </ac:graphicFrameMkLst>
        </pc:graphicFrameChg>
        <pc:graphicFrameChg chg="mod">
          <ac:chgData name="Lin, Sibo" userId="ea051dd4-adc5-46dc-bb80-8ca847fcc2d8" providerId="ADAL" clId="{7EA2BB86-E007-45EB-866C-9A595ED0A894}" dt="2022-11-23T16:58:19.102" v="3557" actId="1038"/>
          <ac:graphicFrameMkLst>
            <pc:docMk/>
            <pc:sldMk cId="3674178583" sldId="679"/>
            <ac:graphicFrameMk id="320" creationId="{5A616519-A8CD-4F57-918B-C849279805A6}"/>
          </ac:graphicFrameMkLst>
        </pc:graphicFrameChg>
        <pc:graphicFrameChg chg="mod">
          <ac:chgData name="Lin, Sibo" userId="ea051dd4-adc5-46dc-bb80-8ca847fcc2d8" providerId="ADAL" clId="{7EA2BB86-E007-45EB-866C-9A595ED0A894}" dt="2022-11-23T05:57:41.305" v="1557"/>
          <ac:graphicFrameMkLst>
            <pc:docMk/>
            <pc:sldMk cId="3674178583" sldId="679"/>
            <ac:graphicFrameMk id="509" creationId="{6AF73779-46C9-4D94-91CC-C1C614D96AF4}"/>
          </ac:graphicFrameMkLst>
        </pc:graphicFrameChg>
        <pc:picChg chg="del">
          <ac:chgData name="Lin, Sibo" userId="ea051dd4-adc5-46dc-bb80-8ca847fcc2d8" providerId="ADAL" clId="{7EA2BB86-E007-45EB-866C-9A595ED0A894}" dt="2022-11-23T07:37:05.838" v="2579" actId="478"/>
          <ac:picMkLst>
            <pc:docMk/>
            <pc:sldMk cId="3674178583" sldId="679"/>
            <ac:picMk id="306" creationId="{DB3E7020-26AC-4DD6-9D02-96714EB897B3}"/>
          </ac:picMkLst>
        </pc:picChg>
        <pc:picChg chg="del mod">
          <ac:chgData name="Lin, Sibo" userId="ea051dd4-adc5-46dc-bb80-8ca847fcc2d8" providerId="ADAL" clId="{7EA2BB86-E007-45EB-866C-9A595ED0A894}" dt="2022-11-23T07:36:58.020" v="2577" actId="478"/>
          <ac:picMkLst>
            <pc:docMk/>
            <pc:sldMk cId="3674178583" sldId="679"/>
            <ac:picMk id="308" creationId="{0A31E5F0-DE66-4FC1-B971-EBF4FE3B3293}"/>
          </ac:picMkLst>
        </pc:picChg>
        <pc:picChg chg="mod">
          <ac:chgData name="Lin, Sibo" userId="ea051dd4-adc5-46dc-bb80-8ca847fcc2d8" providerId="ADAL" clId="{7EA2BB86-E007-45EB-866C-9A595ED0A894}" dt="2022-11-23T16:58:12.628" v="3552" actId="1076"/>
          <ac:picMkLst>
            <pc:docMk/>
            <pc:sldMk cId="3674178583" sldId="679"/>
            <ac:picMk id="315" creationId="{4F57C393-F80C-4D89-862E-CF603A4E9647}"/>
          </ac:picMkLst>
        </pc:picChg>
        <pc:cxnChg chg="mod">
          <ac:chgData name="Lin, Sibo" userId="ea051dd4-adc5-46dc-bb80-8ca847fcc2d8" providerId="ADAL" clId="{7EA2BB86-E007-45EB-866C-9A595ED0A894}" dt="2022-11-23T15:45:53.548" v="3515" actId="14100"/>
          <ac:cxnSpMkLst>
            <pc:docMk/>
            <pc:sldMk cId="3674178583" sldId="679"/>
            <ac:cxnSpMk id="329" creationId="{26571345-FAF3-4380-B2BD-BB8144DDB8B6}"/>
          </ac:cxnSpMkLst>
        </pc:cxnChg>
      </pc:sldChg>
      <pc:sldChg chg="del">
        <pc:chgData name="Lin, Sibo" userId="ea051dd4-adc5-46dc-bb80-8ca847fcc2d8" providerId="ADAL" clId="{7EA2BB86-E007-45EB-866C-9A595ED0A894}" dt="2022-11-23T04:52:34.064" v="1509" actId="47"/>
        <pc:sldMkLst>
          <pc:docMk/>
          <pc:sldMk cId="3873538994" sldId="685"/>
        </pc:sldMkLst>
      </pc:sldChg>
      <pc:sldChg chg="delSp modSp mod delAnim">
        <pc:chgData name="Lin, Sibo" userId="ea051dd4-adc5-46dc-bb80-8ca847fcc2d8" providerId="ADAL" clId="{7EA2BB86-E007-45EB-866C-9A595ED0A894}" dt="2022-11-23T07:37:58.219" v="2623" actId="1076"/>
        <pc:sldMkLst>
          <pc:docMk/>
          <pc:sldMk cId="2027194746" sldId="690"/>
        </pc:sldMkLst>
        <pc:spChg chg="mod">
          <ac:chgData name="Lin, Sibo" userId="ea051dd4-adc5-46dc-bb80-8ca847fcc2d8" providerId="ADAL" clId="{7EA2BB86-E007-45EB-866C-9A595ED0A894}" dt="2022-11-23T07:34:38.515" v="2554" actId="115"/>
          <ac:spMkLst>
            <pc:docMk/>
            <pc:sldMk cId="2027194746" sldId="690"/>
            <ac:spMk id="12" creationId="{A502DCA6-B81F-44F5-9F01-51C32F7F21F4}"/>
          </ac:spMkLst>
        </pc:spChg>
        <pc:spChg chg="mod">
          <ac:chgData name="Lin, Sibo" userId="ea051dd4-adc5-46dc-bb80-8ca847fcc2d8" providerId="ADAL" clId="{7EA2BB86-E007-45EB-866C-9A595ED0A894}" dt="2022-11-23T05:51:26.968" v="1551" actId="14100"/>
          <ac:spMkLst>
            <pc:docMk/>
            <pc:sldMk cId="2027194746" sldId="690"/>
            <ac:spMk id="31" creationId="{0279B74F-04D6-47C4-B6B4-3EAD0867D0EA}"/>
          </ac:spMkLst>
        </pc:spChg>
        <pc:spChg chg="mod">
          <ac:chgData name="Lin, Sibo" userId="ea051dd4-adc5-46dc-bb80-8ca847fcc2d8" providerId="ADAL" clId="{7EA2BB86-E007-45EB-866C-9A595ED0A894}" dt="2022-11-23T06:49:25.406" v="2010" actId="20577"/>
          <ac:spMkLst>
            <pc:docMk/>
            <pc:sldMk cId="2027194746" sldId="690"/>
            <ac:spMk id="74" creationId="{F3F11327-AD8A-405A-AD21-4DD3937322D7}"/>
          </ac:spMkLst>
        </pc:spChg>
        <pc:graphicFrameChg chg="del">
          <ac:chgData name="Lin, Sibo" userId="ea051dd4-adc5-46dc-bb80-8ca847fcc2d8" providerId="ADAL" clId="{7EA2BB86-E007-45EB-866C-9A595ED0A894}" dt="2022-11-23T06:48:37.414" v="1967" actId="478"/>
          <ac:graphicFrameMkLst>
            <pc:docMk/>
            <pc:sldMk cId="2027194746" sldId="690"/>
            <ac:graphicFrameMk id="8" creationId="{089861FA-1590-481B-8C24-53D4EDBA29B4}"/>
          </ac:graphicFrameMkLst>
        </pc:graphicFrameChg>
        <pc:graphicFrameChg chg="mod">
          <ac:chgData name="Lin, Sibo" userId="ea051dd4-adc5-46dc-bb80-8ca847fcc2d8" providerId="ADAL" clId="{7EA2BB86-E007-45EB-866C-9A595ED0A894}" dt="2022-11-23T07:37:58.219" v="2623" actId="1076"/>
          <ac:graphicFrameMkLst>
            <pc:docMk/>
            <pc:sldMk cId="2027194746" sldId="690"/>
            <ac:graphicFrameMk id="25" creationId="{F31E119A-F451-4586-A8AE-E4561BA54DA0}"/>
          </ac:graphicFrameMkLst>
        </pc:graphicFrameChg>
      </pc:sldChg>
      <pc:sldChg chg="delSp del">
        <pc:chgData name="Lin, Sibo" userId="ea051dd4-adc5-46dc-bb80-8ca847fcc2d8" providerId="ADAL" clId="{7EA2BB86-E007-45EB-866C-9A595ED0A894}" dt="2022-11-23T04:35:41.068" v="1438" actId="47"/>
        <pc:sldMkLst>
          <pc:docMk/>
          <pc:sldMk cId="2759592799" sldId="691"/>
        </pc:sldMkLst>
        <pc:picChg chg="del">
          <ac:chgData name="Lin, Sibo" userId="ea051dd4-adc5-46dc-bb80-8ca847fcc2d8" providerId="ADAL" clId="{7EA2BB86-E007-45EB-866C-9A595ED0A894}" dt="2022-11-23T04:35:14.891" v="1430" actId="21"/>
          <ac:picMkLst>
            <pc:docMk/>
            <pc:sldMk cId="2759592799" sldId="691"/>
            <ac:picMk id="4" creationId="{543954AA-8093-ABE0-7376-29C37FFFBAFA}"/>
          </ac:picMkLst>
        </pc:picChg>
        <pc:picChg chg="del">
          <ac:chgData name="Lin, Sibo" userId="ea051dd4-adc5-46dc-bb80-8ca847fcc2d8" providerId="ADAL" clId="{7EA2BB86-E007-45EB-866C-9A595ED0A894}" dt="2022-11-23T04:35:14.891" v="1430" actId="21"/>
          <ac:picMkLst>
            <pc:docMk/>
            <pc:sldMk cId="2759592799" sldId="691"/>
            <ac:picMk id="5" creationId="{7E264A61-81C8-8173-92D7-5BF4824357EE}"/>
          </ac:picMkLst>
        </pc:picChg>
        <pc:picChg chg="del">
          <ac:chgData name="Lin, Sibo" userId="ea051dd4-adc5-46dc-bb80-8ca847fcc2d8" providerId="ADAL" clId="{7EA2BB86-E007-45EB-866C-9A595ED0A894}" dt="2022-11-23T04:35:14.891" v="1430" actId="21"/>
          <ac:picMkLst>
            <pc:docMk/>
            <pc:sldMk cId="2759592799" sldId="691"/>
            <ac:picMk id="6" creationId="{BF9CE66F-3996-512D-0C04-3B78418754D8}"/>
          </ac:picMkLst>
        </pc:picChg>
      </pc:sldChg>
      <pc:sldChg chg="addSp delSp modSp new del mod modAnim">
        <pc:chgData name="Lin, Sibo" userId="ea051dd4-adc5-46dc-bb80-8ca847fcc2d8" providerId="ADAL" clId="{7EA2BB86-E007-45EB-866C-9A595ED0A894}" dt="2022-11-23T04:52:18.345" v="1508" actId="47"/>
        <pc:sldMkLst>
          <pc:docMk/>
          <pc:sldMk cId="2986541859" sldId="692"/>
        </pc:sldMkLst>
        <pc:spChg chg="mod">
          <ac:chgData name="Lin, Sibo" userId="ea051dd4-adc5-46dc-bb80-8ca847fcc2d8" providerId="ADAL" clId="{7EA2BB86-E007-45EB-866C-9A595ED0A894}" dt="2022-11-23T01:24:12.519" v="65"/>
          <ac:spMkLst>
            <pc:docMk/>
            <pc:sldMk cId="2986541859" sldId="692"/>
            <ac:spMk id="2" creationId="{82638D46-9548-6040-DEB6-F79ACF63F4BD}"/>
          </ac:spMkLst>
        </pc:spChg>
        <pc:spChg chg="mod">
          <ac:chgData name="Lin, Sibo" userId="ea051dd4-adc5-46dc-bb80-8ca847fcc2d8" providerId="ADAL" clId="{7EA2BB86-E007-45EB-866C-9A595ED0A894}" dt="2022-11-23T01:24:28.291" v="74" actId="1076"/>
          <ac:spMkLst>
            <pc:docMk/>
            <pc:sldMk cId="2986541859" sldId="692"/>
            <ac:spMk id="4" creationId="{B2F044EA-AAFE-3E73-BDAE-C501FEBBAD92}"/>
          </ac:spMkLst>
        </pc:spChg>
        <pc:spChg chg="add del mod">
          <ac:chgData name="Lin, Sibo" userId="ea051dd4-adc5-46dc-bb80-8ca847fcc2d8" providerId="ADAL" clId="{7EA2BB86-E007-45EB-866C-9A595ED0A894}" dt="2022-11-23T01:23:03.042" v="50"/>
          <ac:spMkLst>
            <pc:docMk/>
            <pc:sldMk cId="2986541859" sldId="692"/>
            <ac:spMk id="5" creationId="{A95D2142-B255-7EC5-6DE4-6DB44FD10EE7}"/>
          </ac:spMkLst>
        </pc:spChg>
        <pc:spChg chg="add del mod">
          <ac:chgData name="Lin, Sibo" userId="ea051dd4-adc5-46dc-bb80-8ca847fcc2d8" providerId="ADAL" clId="{7EA2BB86-E007-45EB-866C-9A595ED0A894}" dt="2022-11-23T01:23:03.042" v="50"/>
          <ac:spMkLst>
            <pc:docMk/>
            <pc:sldMk cId="2986541859" sldId="692"/>
            <ac:spMk id="6" creationId="{73CEAAE8-9C54-4D6B-3633-4780ECC92E56}"/>
          </ac:spMkLst>
        </pc:spChg>
        <pc:spChg chg="add del mod">
          <ac:chgData name="Lin, Sibo" userId="ea051dd4-adc5-46dc-bb80-8ca847fcc2d8" providerId="ADAL" clId="{7EA2BB86-E007-45EB-866C-9A595ED0A894}" dt="2022-11-23T01:23:03.042" v="50"/>
          <ac:spMkLst>
            <pc:docMk/>
            <pc:sldMk cId="2986541859" sldId="692"/>
            <ac:spMk id="9" creationId="{F1E1001E-216F-60E3-4A9E-39C6CB53F584}"/>
          </ac:spMkLst>
        </pc:spChg>
        <pc:spChg chg="add del mod">
          <ac:chgData name="Lin, Sibo" userId="ea051dd4-adc5-46dc-bb80-8ca847fcc2d8" providerId="ADAL" clId="{7EA2BB86-E007-45EB-866C-9A595ED0A894}" dt="2022-11-23T01:23:03.042" v="50"/>
          <ac:spMkLst>
            <pc:docMk/>
            <pc:sldMk cId="2986541859" sldId="692"/>
            <ac:spMk id="10" creationId="{8F5F82EF-43FE-E803-3297-C4B0AAEAAC27}"/>
          </ac:spMkLst>
        </pc:spChg>
        <pc:spChg chg="add del mod">
          <ac:chgData name="Lin, Sibo" userId="ea051dd4-adc5-46dc-bb80-8ca847fcc2d8" providerId="ADAL" clId="{7EA2BB86-E007-45EB-866C-9A595ED0A894}" dt="2022-11-23T01:23:03.042" v="50"/>
          <ac:spMkLst>
            <pc:docMk/>
            <pc:sldMk cId="2986541859" sldId="692"/>
            <ac:spMk id="11" creationId="{6AF5B867-90A3-7718-E7C9-6EA23D7FCCB2}"/>
          </ac:spMkLst>
        </pc:spChg>
        <pc:spChg chg="add del mod">
          <ac:chgData name="Lin, Sibo" userId="ea051dd4-adc5-46dc-bb80-8ca847fcc2d8" providerId="ADAL" clId="{7EA2BB86-E007-45EB-866C-9A595ED0A894}" dt="2022-11-23T01:23:03.042" v="50"/>
          <ac:spMkLst>
            <pc:docMk/>
            <pc:sldMk cId="2986541859" sldId="692"/>
            <ac:spMk id="12" creationId="{AF293D7C-4AAE-2956-8FA4-615BEB79AC0F}"/>
          </ac:spMkLst>
        </pc:spChg>
        <pc:spChg chg="add del mod">
          <ac:chgData name="Lin, Sibo" userId="ea051dd4-adc5-46dc-bb80-8ca847fcc2d8" providerId="ADAL" clId="{7EA2BB86-E007-45EB-866C-9A595ED0A894}" dt="2022-11-23T01:23:03.042" v="50"/>
          <ac:spMkLst>
            <pc:docMk/>
            <pc:sldMk cId="2986541859" sldId="692"/>
            <ac:spMk id="16" creationId="{7F979771-3579-7773-3920-10AB42EE7414}"/>
          </ac:spMkLst>
        </pc:spChg>
        <pc:spChg chg="mod">
          <ac:chgData name="Lin, Sibo" userId="ea051dd4-adc5-46dc-bb80-8ca847fcc2d8" providerId="ADAL" clId="{7EA2BB86-E007-45EB-866C-9A595ED0A894}" dt="2022-11-23T01:23:01.962" v="49"/>
          <ac:spMkLst>
            <pc:docMk/>
            <pc:sldMk cId="2986541859" sldId="692"/>
            <ac:spMk id="19" creationId="{83D59A8F-0815-9200-3DBF-84E0375E3993}"/>
          </ac:spMkLst>
        </pc:spChg>
        <pc:spChg chg="mod">
          <ac:chgData name="Lin, Sibo" userId="ea051dd4-adc5-46dc-bb80-8ca847fcc2d8" providerId="ADAL" clId="{7EA2BB86-E007-45EB-866C-9A595ED0A894}" dt="2022-11-23T01:23:01.962" v="49"/>
          <ac:spMkLst>
            <pc:docMk/>
            <pc:sldMk cId="2986541859" sldId="692"/>
            <ac:spMk id="20" creationId="{D741D313-000F-5C74-B995-FD8B7EC29EFA}"/>
          </ac:spMkLst>
        </pc:spChg>
        <pc:spChg chg="mod">
          <ac:chgData name="Lin, Sibo" userId="ea051dd4-adc5-46dc-bb80-8ca847fcc2d8" providerId="ADAL" clId="{7EA2BB86-E007-45EB-866C-9A595ED0A894}" dt="2022-11-23T01:23:01.962" v="49"/>
          <ac:spMkLst>
            <pc:docMk/>
            <pc:sldMk cId="2986541859" sldId="692"/>
            <ac:spMk id="21" creationId="{72737A2C-4BFE-FE91-AEFE-5375D197B28A}"/>
          </ac:spMkLst>
        </pc:spChg>
        <pc:spChg chg="mod">
          <ac:chgData name="Lin, Sibo" userId="ea051dd4-adc5-46dc-bb80-8ca847fcc2d8" providerId="ADAL" clId="{7EA2BB86-E007-45EB-866C-9A595ED0A894}" dt="2022-11-23T01:23:01.962" v="49"/>
          <ac:spMkLst>
            <pc:docMk/>
            <pc:sldMk cId="2986541859" sldId="692"/>
            <ac:spMk id="22" creationId="{9BC04049-0324-7C52-D93E-0FDD90F7A826}"/>
          </ac:spMkLst>
        </pc:spChg>
        <pc:spChg chg="mod">
          <ac:chgData name="Lin, Sibo" userId="ea051dd4-adc5-46dc-bb80-8ca847fcc2d8" providerId="ADAL" clId="{7EA2BB86-E007-45EB-866C-9A595ED0A894}" dt="2022-11-23T01:23:01.962" v="49"/>
          <ac:spMkLst>
            <pc:docMk/>
            <pc:sldMk cId="2986541859" sldId="692"/>
            <ac:spMk id="23" creationId="{11D183A3-E31C-444F-87F5-4E1FA916815B}"/>
          </ac:spMkLst>
        </pc:spChg>
        <pc:spChg chg="mod">
          <ac:chgData name="Lin, Sibo" userId="ea051dd4-adc5-46dc-bb80-8ca847fcc2d8" providerId="ADAL" clId="{7EA2BB86-E007-45EB-866C-9A595ED0A894}" dt="2022-11-23T01:23:01.962" v="49"/>
          <ac:spMkLst>
            <pc:docMk/>
            <pc:sldMk cId="2986541859" sldId="692"/>
            <ac:spMk id="24" creationId="{4E69BD24-8EAD-9BA6-5EA5-2C2C4A9CF8D2}"/>
          </ac:spMkLst>
        </pc:spChg>
        <pc:spChg chg="mod">
          <ac:chgData name="Lin, Sibo" userId="ea051dd4-adc5-46dc-bb80-8ca847fcc2d8" providerId="ADAL" clId="{7EA2BB86-E007-45EB-866C-9A595ED0A894}" dt="2022-11-23T01:23:01.962" v="49"/>
          <ac:spMkLst>
            <pc:docMk/>
            <pc:sldMk cId="2986541859" sldId="692"/>
            <ac:spMk id="25" creationId="{45AA7D81-9869-56C6-DBE2-6DFC0B0A7C6F}"/>
          </ac:spMkLst>
        </pc:spChg>
        <pc:spChg chg="add del mod">
          <ac:chgData name="Lin, Sibo" userId="ea051dd4-adc5-46dc-bb80-8ca847fcc2d8" providerId="ADAL" clId="{7EA2BB86-E007-45EB-866C-9A595ED0A894}" dt="2022-11-23T01:23:26.425" v="58"/>
          <ac:spMkLst>
            <pc:docMk/>
            <pc:sldMk cId="2986541859" sldId="692"/>
            <ac:spMk id="26" creationId="{7ED0A327-F286-6B20-7F38-1BF68A96BB7A}"/>
          </ac:spMkLst>
        </pc:spChg>
        <pc:spChg chg="add del mod">
          <ac:chgData name="Lin, Sibo" userId="ea051dd4-adc5-46dc-bb80-8ca847fcc2d8" providerId="ADAL" clId="{7EA2BB86-E007-45EB-866C-9A595ED0A894}" dt="2022-11-23T01:23:26.425" v="58"/>
          <ac:spMkLst>
            <pc:docMk/>
            <pc:sldMk cId="2986541859" sldId="692"/>
            <ac:spMk id="27" creationId="{BF9569E0-182A-A02A-15F4-C384A0418A3A}"/>
          </ac:spMkLst>
        </pc:spChg>
        <pc:spChg chg="add del mod">
          <ac:chgData name="Lin, Sibo" userId="ea051dd4-adc5-46dc-bb80-8ca847fcc2d8" providerId="ADAL" clId="{7EA2BB86-E007-45EB-866C-9A595ED0A894}" dt="2022-11-23T01:23:26.425" v="58"/>
          <ac:spMkLst>
            <pc:docMk/>
            <pc:sldMk cId="2986541859" sldId="692"/>
            <ac:spMk id="30" creationId="{2BFFD9C4-F6CA-E7F1-1172-DB3D5B7826B1}"/>
          </ac:spMkLst>
        </pc:spChg>
        <pc:spChg chg="add del mod">
          <ac:chgData name="Lin, Sibo" userId="ea051dd4-adc5-46dc-bb80-8ca847fcc2d8" providerId="ADAL" clId="{7EA2BB86-E007-45EB-866C-9A595ED0A894}" dt="2022-11-23T01:23:26.425" v="58"/>
          <ac:spMkLst>
            <pc:docMk/>
            <pc:sldMk cId="2986541859" sldId="692"/>
            <ac:spMk id="31" creationId="{BDF341C2-74E6-F13A-F4EC-1C9C64C4406B}"/>
          </ac:spMkLst>
        </pc:spChg>
        <pc:spChg chg="add del mod">
          <ac:chgData name="Lin, Sibo" userId="ea051dd4-adc5-46dc-bb80-8ca847fcc2d8" providerId="ADAL" clId="{7EA2BB86-E007-45EB-866C-9A595ED0A894}" dt="2022-11-23T01:23:26.425" v="58"/>
          <ac:spMkLst>
            <pc:docMk/>
            <pc:sldMk cId="2986541859" sldId="692"/>
            <ac:spMk id="32" creationId="{392B4580-7E18-ED9D-4938-4326E70CB7D0}"/>
          </ac:spMkLst>
        </pc:spChg>
        <pc:spChg chg="add del mod">
          <ac:chgData name="Lin, Sibo" userId="ea051dd4-adc5-46dc-bb80-8ca847fcc2d8" providerId="ADAL" clId="{7EA2BB86-E007-45EB-866C-9A595ED0A894}" dt="2022-11-23T01:23:26.425" v="58"/>
          <ac:spMkLst>
            <pc:docMk/>
            <pc:sldMk cId="2986541859" sldId="692"/>
            <ac:spMk id="33" creationId="{4AB6A760-3A88-5DEC-D0ED-2E90399E38D7}"/>
          </ac:spMkLst>
        </pc:spChg>
        <pc:spChg chg="add del mod">
          <ac:chgData name="Lin, Sibo" userId="ea051dd4-adc5-46dc-bb80-8ca847fcc2d8" providerId="ADAL" clId="{7EA2BB86-E007-45EB-866C-9A595ED0A894}" dt="2022-11-23T01:23:26.425" v="58"/>
          <ac:spMkLst>
            <pc:docMk/>
            <pc:sldMk cId="2986541859" sldId="692"/>
            <ac:spMk id="37" creationId="{06CCCCA1-F438-71F6-1FCD-3FA31F45E917}"/>
          </ac:spMkLst>
        </pc:spChg>
        <pc:spChg chg="mod">
          <ac:chgData name="Lin, Sibo" userId="ea051dd4-adc5-46dc-bb80-8ca847fcc2d8" providerId="ADAL" clId="{7EA2BB86-E007-45EB-866C-9A595ED0A894}" dt="2022-11-23T01:23:25.982" v="57" actId="164"/>
          <ac:spMkLst>
            <pc:docMk/>
            <pc:sldMk cId="2986541859" sldId="692"/>
            <ac:spMk id="40" creationId="{68679699-BE7D-0B87-72E7-6119BACC75F9}"/>
          </ac:spMkLst>
        </pc:spChg>
        <pc:spChg chg="mod">
          <ac:chgData name="Lin, Sibo" userId="ea051dd4-adc5-46dc-bb80-8ca847fcc2d8" providerId="ADAL" clId="{7EA2BB86-E007-45EB-866C-9A595ED0A894}" dt="2022-11-23T01:23:25.982" v="57" actId="164"/>
          <ac:spMkLst>
            <pc:docMk/>
            <pc:sldMk cId="2986541859" sldId="692"/>
            <ac:spMk id="41" creationId="{A56B406A-4507-D760-B3E6-3A93BD8C666F}"/>
          </ac:spMkLst>
        </pc:spChg>
        <pc:spChg chg="mod">
          <ac:chgData name="Lin, Sibo" userId="ea051dd4-adc5-46dc-bb80-8ca847fcc2d8" providerId="ADAL" clId="{7EA2BB86-E007-45EB-866C-9A595ED0A894}" dt="2022-11-23T01:23:25.982" v="57" actId="164"/>
          <ac:spMkLst>
            <pc:docMk/>
            <pc:sldMk cId="2986541859" sldId="692"/>
            <ac:spMk id="42" creationId="{77E92E8E-F934-F99A-30D4-DE3B04247049}"/>
          </ac:spMkLst>
        </pc:spChg>
        <pc:spChg chg="mod">
          <ac:chgData name="Lin, Sibo" userId="ea051dd4-adc5-46dc-bb80-8ca847fcc2d8" providerId="ADAL" clId="{7EA2BB86-E007-45EB-866C-9A595ED0A894}" dt="2022-11-23T01:23:25.982" v="57" actId="164"/>
          <ac:spMkLst>
            <pc:docMk/>
            <pc:sldMk cId="2986541859" sldId="692"/>
            <ac:spMk id="43" creationId="{CC35939B-8093-E4A6-E337-0F6B5E255450}"/>
          </ac:spMkLst>
        </pc:spChg>
        <pc:spChg chg="mod">
          <ac:chgData name="Lin, Sibo" userId="ea051dd4-adc5-46dc-bb80-8ca847fcc2d8" providerId="ADAL" clId="{7EA2BB86-E007-45EB-866C-9A595ED0A894}" dt="2022-11-23T01:23:25.982" v="57" actId="164"/>
          <ac:spMkLst>
            <pc:docMk/>
            <pc:sldMk cId="2986541859" sldId="692"/>
            <ac:spMk id="44" creationId="{DC46E01B-EF86-E05E-9440-0132FCABA97E}"/>
          </ac:spMkLst>
        </pc:spChg>
        <pc:spChg chg="mod">
          <ac:chgData name="Lin, Sibo" userId="ea051dd4-adc5-46dc-bb80-8ca847fcc2d8" providerId="ADAL" clId="{7EA2BB86-E007-45EB-866C-9A595ED0A894}" dt="2022-11-23T01:23:25.982" v="57" actId="164"/>
          <ac:spMkLst>
            <pc:docMk/>
            <pc:sldMk cId="2986541859" sldId="692"/>
            <ac:spMk id="45" creationId="{50CD8D36-71FC-C52D-5A76-9D5EAA6F1835}"/>
          </ac:spMkLst>
        </pc:spChg>
        <pc:spChg chg="mod">
          <ac:chgData name="Lin, Sibo" userId="ea051dd4-adc5-46dc-bb80-8ca847fcc2d8" providerId="ADAL" clId="{7EA2BB86-E007-45EB-866C-9A595ED0A894}" dt="2022-11-23T01:23:25.982" v="57" actId="164"/>
          <ac:spMkLst>
            <pc:docMk/>
            <pc:sldMk cId="2986541859" sldId="692"/>
            <ac:spMk id="46" creationId="{D43A5D0B-37ED-1339-9870-A9013C74B7E8}"/>
          </ac:spMkLst>
        </pc:spChg>
        <pc:spChg chg="add del mod">
          <ac:chgData name="Lin, Sibo" userId="ea051dd4-adc5-46dc-bb80-8ca847fcc2d8" providerId="ADAL" clId="{7EA2BB86-E007-45EB-866C-9A595ED0A894}" dt="2022-11-23T01:23:46.129" v="60"/>
          <ac:spMkLst>
            <pc:docMk/>
            <pc:sldMk cId="2986541859" sldId="692"/>
            <ac:spMk id="48" creationId="{B169822A-9D80-7815-0C62-5B692E26ED5E}"/>
          </ac:spMkLst>
        </pc:spChg>
        <pc:spChg chg="add del mod">
          <ac:chgData name="Lin, Sibo" userId="ea051dd4-adc5-46dc-bb80-8ca847fcc2d8" providerId="ADAL" clId="{7EA2BB86-E007-45EB-866C-9A595ED0A894}" dt="2022-11-23T01:23:46.129" v="60"/>
          <ac:spMkLst>
            <pc:docMk/>
            <pc:sldMk cId="2986541859" sldId="692"/>
            <ac:spMk id="49" creationId="{696F91AE-6AA9-BCF1-5EE4-B0FE6093ABB9}"/>
          </ac:spMkLst>
        </pc:spChg>
        <pc:spChg chg="add del mod">
          <ac:chgData name="Lin, Sibo" userId="ea051dd4-adc5-46dc-bb80-8ca847fcc2d8" providerId="ADAL" clId="{7EA2BB86-E007-45EB-866C-9A595ED0A894}" dt="2022-11-23T01:23:46.129" v="60"/>
          <ac:spMkLst>
            <pc:docMk/>
            <pc:sldMk cId="2986541859" sldId="692"/>
            <ac:spMk id="52" creationId="{3D68450A-02B3-B03D-FB93-B34EC324C020}"/>
          </ac:spMkLst>
        </pc:spChg>
        <pc:spChg chg="add del mod">
          <ac:chgData name="Lin, Sibo" userId="ea051dd4-adc5-46dc-bb80-8ca847fcc2d8" providerId="ADAL" clId="{7EA2BB86-E007-45EB-866C-9A595ED0A894}" dt="2022-11-23T01:23:46.129" v="60"/>
          <ac:spMkLst>
            <pc:docMk/>
            <pc:sldMk cId="2986541859" sldId="692"/>
            <ac:spMk id="53" creationId="{95C73F41-A37A-0296-F4DF-61D35AEE9769}"/>
          </ac:spMkLst>
        </pc:spChg>
        <pc:spChg chg="add del mod">
          <ac:chgData name="Lin, Sibo" userId="ea051dd4-adc5-46dc-bb80-8ca847fcc2d8" providerId="ADAL" clId="{7EA2BB86-E007-45EB-866C-9A595ED0A894}" dt="2022-11-23T01:23:46.129" v="60"/>
          <ac:spMkLst>
            <pc:docMk/>
            <pc:sldMk cId="2986541859" sldId="692"/>
            <ac:spMk id="54" creationId="{C65A5E8E-29DA-7FD8-D755-C1C1679193FB}"/>
          </ac:spMkLst>
        </pc:spChg>
        <pc:spChg chg="add del mod">
          <ac:chgData name="Lin, Sibo" userId="ea051dd4-adc5-46dc-bb80-8ca847fcc2d8" providerId="ADAL" clId="{7EA2BB86-E007-45EB-866C-9A595ED0A894}" dt="2022-11-23T01:23:46.129" v="60"/>
          <ac:spMkLst>
            <pc:docMk/>
            <pc:sldMk cId="2986541859" sldId="692"/>
            <ac:spMk id="55" creationId="{66D8B766-40F9-EA9F-A197-65FDC6A53BFE}"/>
          </ac:spMkLst>
        </pc:spChg>
        <pc:spChg chg="add del mod">
          <ac:chgData name="Lin, Sibo" userId="ea051dd4-adc5-46dc-bb80-8ca847fcc2d8" providerId="ADAL" clId="{7EA2BB86-E007-45EB-866C-9A595ED0A894}" dt="2022-11-23T01:23:46.129" v="60"/>
          <ac:spMkLst>
            <pc:docMk/>
            <pc:sldMk cId="2986541859" sldId="692"/>
            <ac:spMk id="59" creationId="{F983DA76-B6D2-641C-C5BD-0AE6EDDC1AAD}"/>
          </ac:spMkLst>
        </pc:spChg>
        <pc:spChg chg="mod">
          <ac:chgData name="Lin, Sibo" userId="ea051dd4-adc5-46dc-bb80-8ca847fcc2d8" providerId="ADAL" clId="{7EA2BB86-E007-45EB-866C-9A595ED0A894}" dt="2022-11-23T01:23:38.504" v="59"/>
          <ac:spMkLst>
            <pc:docMk/>
            <pc:sldMk cId="2986541859" sldId="692"/>
            <ac:spMk id="62" creationId="{FBF2A6E1-4DCC-1E5D-C6CE-DA8968494D05}"/>
          </ac:spMkLst>
        </pc:spChg>
        <pc:spChg chg="mod">
          <ac:chgData name="Lin, Sibo" userId="ea051dd4-adc5-46dc-bb80-8ca847fcc2d8" providerId="ADAL" clId="{7EA2BB86-E007-45EB-866C-9A595ED0A894}" dt="2022-11-23T01:23:38.504" v="59"/>
          <ac:spMkLst>
            <pc:docMk/>
            <pc:sldMk cId="2986541859" sldId="692"/>
            <ac:spMk id="63" creationId="{DE584C0B-0D89-17A8-7C03-697E35E53AF9}"/>
          </ac:spMkLst>
        </pc:spChg>
        <pc:spChg chg="mod">
          <ac:chgData name="Lin, Sibo" userId="ea051dd4-adc5-46dc-bb80-8ca847fcc2d8" providerId="ADAL" clId="{7EA2BB86-E007-45EB-866C-9A595ED0A894}" dt="2022-11-23T01:23:38.504" v="59"/>
          <ac:spMkLst>
            <pc:docMk/>
            <pc:sldMk cId="2986541859" sldId="692"/>
            <ac:spMk id="64" creationId="{6E7ADBA1-69A2-F179-987E-E9F55D592CED}"/>
          </ac:spMkLst>
        </pc:spChg>
        <pc:spChg chg="mod">
          <ac:chgData name="Lin, Sibo" userId="ea051dd4-adc5-46dc-bb80-8ca847fcc2d8" providerId="ADAL" clId="{7EA2BB86-E007-45EB-866C-9A595ED0A894}" dt="2022-11-23T01:23:38.504" v="59"/>
          <ac:spMkLst>
            <pc:docMk/>
            <pc:sldMk cId="2986541859" sldId="692"/>
            <ac:spMk id="65" creationId="{C3915045-F544-1800-E5FE-1C6571588862}"/>
          </ac:spMkLst>
        </pc:spChg>
        <pc:spChg chg="mod">
          <ac:chgData name="Lin, Sibo" userId="ea051dd4-adc5-46dc-bb80-8ca847fcc2d8" providerId="ADAL" clId="{7EA2BB86-E007-45EB-866C-9A595ED0A894}" dt="2022-11-23T01:23:38.504" v="59"/>
          <ac:spMkLst>
            <pc:docMk/>
            <pc:sldMk cId="2986541859" sldId="692"/>
            <ac:spMk id="66" creationId="{5000C9CA-D845-214E-C756-46D9379C3F18}"/>
          </ac:spMkLst>
        </pc:spChg>
        <pc:spChg chg="mod">
          <ac:chgData name="Lin, Sibo" userId="ea051dd4-adc5-46dc-bb80-8ca847fcc2d8" providerId="ADAL" clId="{7EA2BB86-E007-45EB-866C-9A595ED0A894}" dt="2022-11-23T01:23:38.504" v="59"/>
          <ac:spMkLst>
            <pc:docMk/>
            <pc:sldMk cId="2986541859" sldId="692"/>
            <ac:spMk id="67" creationId="{92486747-ACE5-706F-829D-2473C315D728}"/>
          </ac:spMkLst>
        </pc:spChg>
        <pc:spChg chg="mod">
          <ac:chgData name="Lin, Sibo" userId="ea051dd4-adc5-46dc-bb80-8ca847fcc2d8" providerId="ADAL" clId="{7EA2BB86-E007-45EB-866C-9A595ED0A894}" dt="2022-11-23T01:23:38.504" v="59"/>
          <ac:spMkLst>
            <pc:docMk/>
            <pc:sldMk cId="2986541859" sldId="692"/>
            <ac:spMk id="68" creationId="{31993320-E511-CA0C-7345-13E8154591BD}"/>
          </ac:spMkLst>
        </pc:spChg>
        <pc:spChg chg="add del mod">
          <ac:chgData name="Lin, Sibo" userId="ea051dd4-adc5-46dc-bb80-8ca847fcc2d8" providerId="ADAL" clId="{7EA2BB86-E007-45EB-866C-9A595ED0A894}" dt="2022-11-23T01:24:07.385" v="63" actId="478"/>
          <ac:spMkLst>
            <pc:docMk/>
            <pc:sldMk cId="2986541859" sldId="692"/>
            <ac:spMk id="69" creationId="{948BCB66-617B-F415-59E3-84587539C469}"/>
          </ac:spMkLst>
        </pc:spChg>
        <pc:spChg chg="add mod">
          <ac:chgData name="Lin, Sibo" userId="ea051dd4-adc5-46dc-bb80-8ca847fcc2d8" providerId="ADAL" clId="{7EA2BB86-E007-45EB-866C-9A595ED0A894}" dt="2022-11-23T01:24:11.243" v="64" actId="21"/>
          <ac:spMkLst>
            <pc:docMk/>
            <pc:sldMk cId="2986541859" sldId="692"/>
            <ac:spMk id="70" creationId="{FAC81920-1186-560F-FD37-38F9090A7F59}"/>
          </ac:spMkLst>
        </pc:spChg>
        <pc:spChg chg="add del mod">
          <ac:chgData name="Lin, Sibo" userId="ea051dd4-adc5-46dc-bb80-8ca847fcc2d8" providerId="ADAL" clId="{7EA2BB86-E007-45EB-866C-9A595ED0A894}" dt="2022-11-23T01:24:48.865" v="80"/>
          <ac:spMkLst>
            <pc:docMk/>
            <pc:sldMk cId="2986541859" sldId="692"/>
            <ac:spMk id="73" creationId="{2B039E3F-5ECA-4453-8CBC-80466AA302AB}"/>
          </ac:spMkLst>
        </pc:spChg>
        <pc:spChg chg="add mod">
          <ac:chgData name="Lin, Sibo" userId="ea051dd4-adc5-46dc-bb80-8ca847fcc2d8" providerId="ADAL" clId="{7EA2BB86-E007-45EB-866C-9A595ED0A894}" dt="2022-11-23T01:24:32.604" v="75" actId="1076"/>
          <ac:spMkLst>
            <pc:docMk/>
            <pc:sldMk cId="2986541859" sldId="692"/>
            <ac:spMk id="74" creationId="{5DB946C9-0DD5-D395-FE00-516B1C4682D0}"/>
          </ac:spMkLst>
        </pc:spChg>
        <pc:spChg chg="add mod">
          <ac:chgData name="Lin, Sibo" userId="ea051dd4-adc5-46dc-bb80-8ca847fcc2d8" providerId="ADAL" clId="{7EA2BB86-E007-45EB-866C-9A595ED0A894}" dt="2022-11-23T01:23:50.095" v="61"/>
          <ac:spMkLst>
            <pc:docMk/>
            <pc:sldMk cId="2986541859" sldId="692"/>
            <ac:spMk id="75" creationId="{B249791C-EEC0-C242-6DA2-5D3A6EF66DC7}"/>
          </ac:spMkLst>
        </pc:spChg>
        <pc:spChg chg="add mod">
          <ac:chgData name="Lin, Sibo" userId="ea051dd4-adc5-46dc-bb80-8ca847fcc2d8" providerId="ADAL" clId="{7EA2BB86-E007-45EB-866C-9A595ED0A894}" dt="2022-11-23T01:23:50.095" v="61"/>
          <ac:spMkLst>
            <pc:docMk/>
            <pc:sldMk cId="2986541859" sldId="692"/>
            <ac:spMk id="76" creationId="{48FBE26C-D196-B9C7-0B3F-1AA68F608631}"/>
          </ac:spMkLst>
        </pc:spChg>
        <pc:spChg chg="add mod">
          <ac:chgData name="Lin, Sibo" userId="ea051dd4-adc5-46dc-bb80-8ca847fcc2d8" providerId="ADAL" clId="{7EA2BB86-E007-45EB-866C-9A595ED0A894}" dt="2022-11-23T01:23:50.095" v="61"/>
          <ac:spMkLst>
            <pc:docMk/>
            <pc:sldMk cId="2986541859" sldId="692"/>
            <ac:spMk id="80" creationId="{BC6DB0F6-67ED-BB54-DABA-AD5DB6E186B6}"/>
          </ac:spMkLst>
        </pc:spChg>
        <pc:spChg chg="mod">
          <ac:chgData name="Lin, Sibo" userId="ea051dd4-adc5-46dc-bb80-8ca847fcc2d8" providerId="ADAL" clId="{7EA2BB86-E007-45EB-866C-9A595ED0A894}" dt="2022-11-23T01:23:50.095" v="61"/>
          <ac:spMkLst>
            <pc:docMk/>
            <pc:sldMk cId="2986541859" sldId="692"/>
            <ac:spMk id="83" creationId="{FF4FA25C-6568-52F4-37E3-B1A44A732B70}"/>
          </ac:spMkLst>
        </pc:spChg>
        <pc:spChg chg="mod">
          <ac:chgData name="Lin, Sibo" userId="ea051dd4-adc5-46dc-bb80-8ca847fcc2d8" providerId="ADAL" clId="{7EA2BB86-E007-45EB-866C-9A595ED0A894}" dt="2022-11-23T01:23:50.095" v="61"/>
          <ac:spMkLst>
            <pc:docMk/>
            <pc:sldMk cId="2986541859" sldId="692"/>
            <ac:spMk id="84" creationId="{C7525211-B553-9AA5-8223-16A1A96653B7}"/>
          </ac:spMkLst>
        </pc:spChg>
        <pc:spChg chg="mod">
          <ac:chgData name="Lin, Sibo" userId="ea051dd4-adc5-46dc-bb80-8ca847fcc2d8" providerId="ADAL" clId="{7EA2BB86-E007-45EB-866C-9A595ED0A894}" dt="2022-11-23T01:23:50.095" v="61"/>
          <ac:spMkLst>
            <pc:docMk/>
            <pc:sldMk cId="2986541859" sldId="692"/>
            <ac:spMk id="85" creationId="{06518808-22FD-9151-C333-2CD500F82F54}"/>
          </ac:spMkLst>
        </pc:spChg>
        <pc:spChg chg="mod">
          <ac:chgData name="Lin, Sibo" userId="ea051dd4-adc5-46dc-bb80-8ca847fcc2d8" providerId="ADAL" clId="{7EA2BB86-E007-45EB-866C-9A595ED0A894}" dt="2022-11-23T01:23:50.095" v="61"/>
          <ac:spMkLst>
            <pc:docMk/>
            <pc:sldMk cId="2986541859" sldId="692"/>
            <ac:spMk id="86" creationId="{4FD1661C-DA48-CEB9-DB0A-C4B45969DB97}"/>
          </ac:spMkLst>
        </pc:spChg>
        <pc:spChg chg="mod">
          <ac:chgData name="Lin, Sibo" userId="ea051dd4-adc5-46dc-bb80-8ca847fcc2d8" providerId="ADAL" clId="{7EA2BB86-E007-45EB-866C-9A595ED0A894}" dt="2022-11-23T01:23:50.095" v="61"/>
          <ac:spMkLst>
            <pc:docMk/>
            <pc:sldMk cId="2986541859" sldId="692"/>
            <ac:spMk id="87" creationId="{CE8CF5C5-4875-60A9-9F65-F3FF185174B9}"/>
          </ac:spMkLst>
        </pc:spChg>
        <pc:spChg chg="mod">
          <ac:chgData name="Lin, Sibo" userId="ea051dd4-adc5-46dc-bb80-8ca847fcc2d8" providerId="ADAL" clId="{7EA2BB86-E007-45EB-866C-9A595ED0A894}" dt="2022-11-23T01:23:50.095" v="61"/>
          <ac:spMkLst>
            <pc:docMk/>
            <pc:sldMk cId="2986541859" sldId="692"/>
            <ac:spMk id="88" creationId="{8BB61015-BBDA-71F5-9DF3-681E05B826D5}"/>
          </ac:spMkLst>
        </pc:spChg>
        <pc:spChg chg="mod">
          <ac:chgData name="Lin, Sibo" userId="ea051dd4-adc5-46dc-bb80-8ca847fcc2d8" providerId="ADAL" clId="{7EA2BB86-E007-45EB-866C-9A595ED0A894}" dt="2022-11-23T01:23:50.095" v="61"/>
          <ac:spMkLst>
            <pc:docMk/>
            <pc:sldMk cId="2986541859" sldId="692"/>
            <ac:spMk id="89" creationId="{232DF021-5D43-9E2A-D07C-BA9C8A1F6685}"/>
          </ac:spMkLst>
        </pc:spChg>
        <pc:grpChg chg="add del mod">
          <ac:chgData name="Lin, Sibo" userId="ea051dd4-adc5-46dc-bb80-8ca847fcc2d8" providerId="ADAL" clId="{7EA2BB86-E007-45EB-866C-9A595ED0A894}" dt="2022-11-23T01:23:03.042" v="50"/>
          <ac:grpSpMkLst>
            <pc:docMk/>
            <pc:sldMk cId="2986541859" sldId="692"/>
            <ac:grpSpMk id="17" creationId="{E2D839F4-46EF-B888-61FA-153A5AA5EA93}"/>
          </ac:grpSpMkLst>
        </pc:grpChg>
        <pc:grpChg chg="add del mod">
          <ac:chgData name="Lin, Sibo" userId="ea051dd4-adc5-46dc-bb80-8ca847fcc2d8" providerId="ADAL" clId="{7EA2BB86-E007-45EB-866C-9A595ED0A894}" dt="2022-11-23T01:23:26.425" v="58"/>
          <ac:grpSpMkLst>
            <pc:docMk/>
            <pc:sldMk cId="2986541859" sldId="692"/>
            <ac:grpSpMk id="38" creationId="{B1AC80F7-CA3E-7D67-C474-430112D43CB0}"/>
          </ac:grpSpMkLst>
        </pc:grpChg>
        <pc:grpChg chg="add mod">
          <ac:chgData name="Lin, Sibo" userId="ea051dd4-adc5-46dc-bb80-8ca847fcc2d8" providerId="ADAL" clId="{7EA2BB86-E007-45EB-866C-9A595ED0A894}" dt="2022-11-23T01:23:25.982" v="57" actId="164"/>
          <ac:grpSpMkLst>
            <pc:docMk/>
            <pc:sldMk cId="2986541859" sldId="692"/>
            <ac:grpSpMk id="47" creationId="{162E73A5-5FC6-0CFC-A886-264E967FD251}"/>
          </ac:grpSpMkLst>
        </pc:grpChg>
        <pc:grpChg chg="add del mod">
          <ac:chgData name="Lin, Sibo" userId="ea051dd4-adc5-46dc-bb80-8ca847fcc2d8" providerId="ADAL" clId="{7EA2BB86-E007-45EB-866C-9A595ED0A894}" dt="2022-11-23T01:23:46.129" v="60"/>
          <ac:grpSpMkLst>
            <pc:docMk/>
            <pc:sldMk cId="2986541859" sldId="692"/>
            <ac:grpSpMk id="60" creationId="{B0279F29-1598-B167-3B40-EEE14B21C59A}"/>
          </ac:grpSpMkLst>
        </pc:grpChg>
        <pc:grpChg chg="add mod">
          <ac:chgData name="Lin, Sibo" userId="ea051dd4-adc5-46dc-bb80-8ca847fcc2d8" providerId="ADAL" clId="{7EA2BB86-E007-45EB-866C-9A595ED0A894}" dt="2022-11-23T01:23:50.095" v="61"/>
          <ac:grpSpMkLst>
            <pc:docMk/>
            <pc:sldMk cId="2986541859" sldId="692"/>
            <ac:grpSpMk id="81" creationId="{B4240DD5-813B-648A-F2D7-513E1CF74915}"/>
          </ac:grpSpMkLst>
        </pc:grpChg>
        <pc:graphicFrameChg chg="add del mod">
          <ac:chgData name="Lin, Sibo" userId="ea051dd4-adc5-46dc-bb80-8ca847fcc2d8" providerId="ADAL" clId="{7EA2BB86-E007-45EB-866C-9A595ED0A894}" dt="2022-11-23T01:23:03.042" v="50"/>
          <ac:graphicFrameMkLst>
            <pc:docMk/>
            <pc:sldMk cId="2986541859" sldId="692"/>
            <ac:graphicFrameMk id="14" creationId="{A19CD92D-04E2-5A4A-CCD6-3166374DCF6D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1:23:03.042" v="50"/>
          <ac:graphicFrameMkLst>
            <pc:docMk/>
            <pc:sldMk cId="2986541859" sldId="692"/>
            <ac:graphicFrameMk id="15" creationId="{2B6A3C0F-9303-1870-9D63-45D119C13D08}"/>
          </ac:graphicFrameMkLst>
        </pc:graphicFrameChg>
        <pc:graphicFrameChg chg="mod">
          <ac:chgData name="Lin, Sibo" userId="ea051dd4-adc5-46dc-bb80-8ca847fcc2d8" providerId="ADAL" clId="{7EA2BB86-E007-45EB-866C-9A595ED0A894}" dt="2022-11-23T01:23:01.962" v="49"/>
          <ac:graphicFrameMkLst>
            <pc:docMk/>
            <pc:sldMk cId="2986541859" sldId="692"/>
            <ac:graphicFrameMk id="18" creationId="{611ECC15-9BFA-B123-7707-473034544B18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1:23:26.425" v="58"/>
          <ac:graphicFrameMkLst>
            <pc:docMk/>
            <pc:sldMk cId="2986541859" sldId="692"/>
            <ac:graphicFrameMk id="35" creationId="{40A21828-EEDB-440F-9FFC-707E35488919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1:23:26.425" v="58"/>
          <ac:graphicFrameMkLst>
            <pc:docMk/>
            <pc:sldMk cId="2986541859" sldId="692"/>
            <ac:graphicFrameMk id="36" creationId="{FC8705EC-708C-8C9B-E4EA-F80DCE7E0FB3}"/>
          </ac:graphicFrameMkLst>
        </pc:graphicFrameChg>
        <pc:graphicFrameChg chg="mod">
          <ac:chgData name="Lin, Sibo" userId="ea051dd4-adc5-46dc-bb80-8ca847fcc2d8" providerId="ADAL" clId="{7EA2BB86-E007-45EB-866C-9A595ED0A894}" dt="2022-11-23T01:23:25.982" v="57" actId="164"/>
          <ac:graphicFrameMkLst>
            <pc:docMk/>
            <pc:sldMk cId="2986541859" sldId="692"/>
            <ac:graphicFrameMk id="39" creationId="{BA814523-A352-B628-5DE6-F709ED1F4CBD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1:23:46.129" v="60"/>
          <ac:graphicFrameMkLst>
            <pc:docMk/>
            <pc:sldMk cId="2986541859" sldId="692"/>
            <ac:graphicFrameMk id="57" creationId="{DF665071-E3E6-A720-6D2C-E62A36EA182D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1:23:46.129" v="60"/>
          <ac:graphicFrameMkLst>
            <pc:docMk/>
            <pc:sldMk cId="2986541859" sldId="692"/>
            <ac:graphicFrameMk id="58" creationId="{91B7624A-D23A-6BAE-1509-E35A2A20726D}"/>
          </ac:graphicFrameMkLst>
        </pc:graphicFrameChg>
        <pc:graphicFrameChg chg="mod">
          <ac:chgData name="Lin, Sibo" userId="ea051dd4-adc5-46dc-bb80-8ca847fcc2d8" providerId="ADAL" clId="{7EA2BB86-E007-45EB-866C-9A595ED0A894}" dt="2022-11-23T01:23:38.504" v="59"/>
          <ac:graphicFrameMkLst>
            <pc:docMk/>
            <pc:sldMk cId="2986541859" sldId="692"/>
            <ac:graphicFrameMk id="61" creationId="{74EDE380-CD23-F673-9F48-15589423C319}"/>
          </ac:graphicFrameMkLst>
        </pc:graphicFrameChg>
        <pc:graphicFrameChg chg="add mod">
          <ac:chgData name="Lin, Sibo" userId="ea051dd4-adc5-46dc-bb80-8ca847fcc2d8" providerId="ADAL" clId="{7EA2BB86-E007-45EB-866C-9A595ED0A894}" dt="2022-11-23T01:23:50.095" v="61"/>
          <ac:graphicFrameMkLst>
            <pc:docMk/>
            <pc:sldMk cId="2986541859" sldId="692"/>
            <ac:graphicFrameMk id="78" creationId="{9A149486-2665-6498-EE96-D4FBD83CB4E0}"/>
          </ac:graphicFrameMkLst>
        </pc:graphicFrameChg>
        <pc:graphicFrameChg chg="add mod">
          <ac:chgData name="Lin, Sibo" userId="ea051dd4-adc5-46dc-bb80-8ca847fcc2d8" providerId="ADAL" clId="{7EA2BB86-E007-45EB-866C-9A595ED0A894}" dt="2022-11-23T01:23:50.095" v="61"/>
          <ac:graphicFrameMkLst>
            <pc:docMk/>
            <pc:sldMk cId="2986541859" sldId="692"/>
            <ac:graphicFrameMk id="79" creationId="{7CE2ABD8-320D-B878-BA8A-9FC9701F478A}"/>
          </ac:graphicFrameMkLst>
        </pc:graphicFrameChg>
        <pc:graphicFrameChg chg="mod">
          <ac:chgData name="Lin, Sibo" userId="ea051dd4-adc5-46dc-bb80-8ca847fcc2d8" providerId="ADAL" clId="{7EA2BB86-E007-45EB-866C-9A595ED0A894}" dt="2022-11-23T01:23:50.095" v="61"/>
          <ac:graphicFrameMkLst>
            <pc:docMk/>
            <pc:sldMk cId="2986541859" sldId="692"/>
            <ac:graphicFrameMk id="82" creationId="{CA150CD4-47A7-5AC9-2830-AFC59C0798B7}"/>
          </ac:graphicFrameMkLst>
        </pc:graphicFrameChg>
        <pc:picChg chg="add del mod">
          <ac:chgData name="Lin, Sibo" userId="ea051dd4-adc5-46dc-bb80-8ca847fcc2d8" providerId="ADAL" clId="{7EA2BB86-E007-45EB-866C-9A595ED0A894}" dt="2022-11-23T01:23:03.042" v="50"/>
          <ac:picMkLst>
            <pc:docMk/>
            <pc:sldMk cId="2986541859" sldId="692"/>
            <ac:picMk id="7" creationId="{A4ECADFE-100B-3E59-6EBF-2C404DD4A9D4}"/>
          </ac:picMkLst>
        </pc:picChg>
        <pc:picChg chg="add del mod">
          <ac:chgData name="Lin, Sibo" userId="ea051dd4-adc5-46dc-bb80-8ca847fcc2d8" providerId="ADAL" clId="{7EA2BB86-E007-45EB-866C-9A595ED0A894}" dt="2022-11-23T01:23:03.042" v="50"/>
          <ac:picMkLst>
            <pc:docMk/>
            <pc:sldMk cId="2986541859" sldId="692"/>
            <ac:picMk id="8" creationId="{95466B3C-57B8-01A6-1AD5-CB1F691098AE}"/>
          </ac:picMkLst>
        </pc:picChg>
        <pc:picChg chg="add del mod">
          <ac:chgData name="Lin, Sibo" userId="ea051dd4-adc5-46dc-bb80-8ca847fcc2d8" providerId="ADAL" clId="{7EA2BB86-E007-45EB-866C-9A595ED0A894}" dt="2022-11-23T01:23:03.042" v="50"/>
          <ac:picMkLst>
            <pc:docMk/>
            <pc:sldMk cId="2986541859" sldId="692"/>
            <ac:picMk id="13" creationId="{C8992317-7928-8100-2702-E1315368BF24}"/>
          </ac:picMkLst>
        </pc:picChg>
        <pc:picChg chg="add del mod">
          <ac:chgData name="Lin, Sibo" userId="ea051dd4-adc5-46dc-bb80-8ca847fcc2d8" providerId="ADAL" clId="{7EA2BB86-E007-45EB-866C-9A595ED0A894}" dt="2022-11-23T01:23:26.425" v="58"/>
          <ac:picMkLst>
            <pc:docMk/>
            <pc:sldMk cId="2986541859" sldId="692"/>
            <ac:picMk id="28" creationId="{B2481B77-8CE9-F350-97F2-09475A1D9006}"/>
          </ac:picMkLst>
        </pc:picChg>
        <pc:picChg chg="add del mod">
          <ac:chgData name="Lin, Sibo" userId="ea051dd4-adc5-46dc-bb80-8ca847fcc2d8" providerId="ADAL" clId="{7EA2BB86-E007-45EB-866C-9A595ED0A894}" dt="2022-11-23T01:23:26.425" v="58"/>
          <ac:picMkLst>
            <pc:docMk/>
            <pc:sldMk cId="2986541859" sldId="692"/>
            <ac:picMk id="29" creationId="{71CC6AAC-25C0-B51B-B4ED-434429353DEA}"/>
          </ac:picMkLst>
        </pc:picChg>
        <pc:picChg chg="add del mod">
          <ac:chgData name="Lin, Sibo" userId="ea051dd4-adc5-46dc-bb80-8ca847fcc2d8" providerId="ADAL" clId="{7EA2BB86-E007-45EB-866C-9A595ED0A894}" dt="2022-11-23T01:23:26.425" v="58"/>
          <ac:picMkLst>
            <pc:docMk/>
            <pc:sldMk cId="2986541859" sldId="692"/>
            <ac:picMk id="34" creationId="{455B7454-7ADC-4CED-E2E8-BC5D622C1C1C}"/>
          </ac:picMkLst>
        </pc:picChg>
        <pc:picChg chg="add del mod">
          <ac:chgData name="Lin, Sibo" userId="ea051dd4-adc5-46dc-bb80-8ca847fcc2d8" providerId="ADAL" clId="{7EA2BB86-E007-45EB-866C-9A595ED0A894}" dt="2022-11-23T01:23:46.129" v="60"/>
          <ac:picMkLst>
            <pc:docMk/>
            <pc:sldMk cId="2986541859" sldId="692"/>
            <ac:picMk id="50" creationId="{0665ABA7-47C5-A46E-3428-0031FF662270}"/>
          </ac:picMkLst>
        </pc:picChg>
        <pc:picChg chg="add del mod">
          <ac:chgData name="Lin, Sibo" userId="ea051dd4-adc5-46dc-bb80-8ca847fcc2d8" providerId="ADAL" clId="{7EA2BB86-E007-45EB-866C-9A595ED0A894}" dt="2022-11-23T01:23:46.129" v="60"/>
          <ac:picMkLst>
            <pc:docMk/>
            <pc:sldMk cId="2986541859" sldId="692"/>
            <ac:picMk id="51" creationId="{ABF5E484-BEB7-252C-286C-916D88BA9730}"/>
          </ac:picMkLst>
        </pc:picChg>
        <pc:picChg chg="add del mod">
          <ac:chgData name="Lin, Sibo" userId="ea051dd4-adc5-46dc-bb80-8ca847fcc2d8" providerId="ADAL" clId="{7EA2BB86-E007-45EB-866C-9A595ED0A894}" dt="2022-11-23T01:23:46.129" v="60"/>
          <ac:picMkLst>
            <pc:docMk/>
            <pc:sldMk cId="2986541859" sldId="692"/>
            <ac:picMk id="56" creationId="{F52E70B8-37C2-E60F-51BC-3AAF918BB9CB}"/>
          </ac:picMkLst>
        </pc:picChg>
        <pc:picChg chg="add mod">
          <ac:chgData name="Lin, Sibo" userId="ea051dd4-adc5-46dc-bb80-8ca847fcc2d8" providerId="ADAL" clId="{7EA2BB86-E007-45EB-866C-9A595ED0A894}" dt="2022-11-23T01:24:42.207" v="78" actId="14100"/>
          <ac:picMkLst>
            <pc:docMk/>
            <pc:sldMk cId="2986541859" sldId="692"/>
            <ac:picMk id="71" creationId="{D259B68C-6E37-33D9-E1FC-7823FD179589}"/>
          </ac:picMkLst>
        </pc:picChg>
        <pc:picChg chg="add mod">
          <ac:chgData name="Lin, Sibo" userId="ea051dd4-adc5-46dc-bb80-8ca847fcc2d8" providerId="ADAL" clId="{7EA2BB86-E007-45EB-866C-9A595ED0A894}" dt="2022-11-23T01:24:34.313" v="76" actId="1076"/>
          <ac:picMkLst>
            <pc:docMk/>
            <pc:sldMk cId="2986541859" sldId="692"/>
            <ac:picMk id="72" creationId="{50D9AD75-9BD1-355F-DE68-DED79D4124BE}"/>
          </ac:picMkLst>
        </pc:picChg>
        <pc:picChg chg="add mod">
          <ac:chgData name="Lin, Sibo" userId="ea051dd4-adc5-46dc-bb80-8ca847fcc2d8" providerId="ADAL" clId="{7EA2BB86-E007-45EB-866C-9A595ED0A894}" dt="2022-11-23T01:23:50.095" v="61"/>
          <ac:picMkLst>
            <pc:docMk/>
            <pc:sldMk cId="2986541859" sldId="692"/>
            <ac:picMk id="77" creationId="{94B96B30-F1B0-A617-5205-219F7A36759A}"/>
          </ac:picMkLst>
        </pc:picChg>
      </pc:sldChg>
      <pc:sldChg chg="addSp delSp modSp new del mod modAnim">
        <pc:chgData name="Lin, Sibo" userId="ea051dd4-adc5-46dc-bb80-8ca847fcc2d8" providerId="ADAL" clId="{7EA2BB86-E007-45EB-866C-9A595ED0A894}" dt="2022-11-23T04:52:16.518" v="1507" actId="47"/>
        <pc:sldMkLst>
          <pc:docMk/>
          <pc:sldMk cId="3888526647" sldId="693"/>
        </pc:sldMkLst>
        <pc:spChg chg="add del mod">
          <ac:chgData name="Lin, Sibo" userId="ea051dd4-adc5-46dc-bb80-8ca847fcc2d8" providerId="ADAL" clId="{7EA2BB86-E007-45EB-866C-9A595ED0A894}" dt="2022-11-23T02:08:11.038" v="581" actId="21"/>
          <ac:spMkLst>
            <pc:docMk/>
            <pc:sldMk cId="3888526647" sldId="693"/>
            <ac:spMk id="5" creationId="{CF9914E3-6144-2782-686F-2FD512FF6299}"/>
          </ac:spMkLst>
        </pc:spChg>
        <pc:spChg chg="add mod">
          <ac:chgData name="Lin, Sibo" userId="ea051dd4-adc5-46dc-bb80-8ca847fcc2d8" providerId="ADAL" clId="{7EA2BB86-E007-45EB-866C-9A595ED0A894}" dt="2022-11-23T02:04:12.222" v="280"/>
          <ac:spMkLst>
            <pc:docMk/>
            <pc:sldMk cId="3888526647" sldId="693"/>
            <ac:spMk id="8" creationId="{ED8630F1-C376-6274-D64B-F6E5EF620997}"/>
          </ac:spMkLst>
        </pc:spChg>
        <pc:spChg chg="add del mod">
          <ac:chgData name="Lin, Sibo" userId="ea051dd4-adc5-46dc-bb80-8ca847fcc2d8" providerId="ADAL" clId="{7EA2BB86-E007-45EB-866C-9A595ED0A894}" dt="2022-11-23T02:08:11.038" v="581" actId="21"/>
          <ac:spMkLst>
            <pc:docMk/>
            <pc:sldMk cId="3888526647" sldId="693"/>
            <ac:spMk id="13" creationId="{241D8835-1021-8508-A504-4FEDC811F012}"/>
          </ac:spMkLst>
        </pc:spChg>
        <pc:graphicFrameChg chg="add mod">
          <ac:chgData name="Lin, Sibo" userId="ea051dd4-adc5-46dc-bb80-8ca847fcc2d8" providerId="ADAL" clId="{7EA2BB86-E007-45EB-866C-9A595ED0A894}" dt="2022-11-23T02:09:12.702" v="606" actId="1076"/>
          <ac:graphicFrameMkLst>
            <pc:docMk/>
            <pc:sldMk cId="3888526647" sldId="693"/>
            <ac:graphicFrameMk id="6" creationId="{42594B82-480E-4989-F417-33733BEFAB65}"/>
          </ac:graphicFrameMkLst>
        </pc:graphicFrameChg>
        <pc:graphicFrameChg chg="add mod">
          <ac:chgData name="Lin, Sibo" userId="ea051dd4-adc5-46dc-bb80-8ca847fcc2d8" providerId="ADAL" clId="{7EA2BB86-E007-45EB-866C-9A595ED0A894}" dt="2022-11-23T02:09:12.702" v="606" actId="1076"/>
          <ac:graphicFrameMkLst>
            <pc:docMk/>
            <pc:sldMk cId="3888526647" sldId="693"/>
            <ac:graphicFrameMk id="7" creationId="{420EB9A5-1B92-989E-CB2F-BEB835153928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2:08:11.038" v="581" actId="21"/>
          <ac:graphicFrameMkLst>
            <pc:docMk/>
            <pc:sldMk cId="3888526647" sldId="693"/>
            <ac:graphicFrameMk id="10" creationId="{34355331-3459-22F5-CFE2-F3867326AE77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2:08:11.038" v="581" actId="21"/>
          <ac:graphicFrameMkLst>
            <pc:docMk/>
            <pc:sldMk cId="3888526647" sldId="693"/>
            <ac:graphicFrameMk id="12" creationId="{8B0A95C3-52D1-EEDF-77E8-4254CF4D2C5D}"/>
          </ac:graphicFrameMkLst>
        </pc:graphicFrameChg>
        <pc:picChg chg="add del mod">
          <ac:chgData name="Lin, Sibo" userId="ea051dd4-adc5-46dc-bb80-8ca847fcc2d8" providerId="ADAL" clId="{7EA2BB86-E007-45EB-866C-9A595ED0A894}" dt="2022-11-23T02:08:11.038" v="581" actId="21"/>
          <ac:picMkLst>
            <pc:docMk/>
            <pc:sldMk cId="3888526647" sldId="693"/>
            <ac:picMk id="9" creationId="{FEEFE5D1-0370-DED6-D9AB-E5F8F342036C}"/>
          </ac:picMkLst>
        </pc:picChg>
        <pc:picChg chg="add del mod">
          <ac:chgData name="Lin, Sibo" userId="ea051dd4-adc5-46dc-bb80-8ca847fcc2d8" providerId="ADAL" clId="{7EA2BB86-E007-45EB-866C-9A595ED0A894}" dt="2022-11-23T02:08:11.038" v="581" actId="21"/>
          <ac:picMkLst>
            <pc:docMk/>
            <pc:sldMk cId="3888526647" sldId="693"/>
            <ac:picMk id="11" creationId="{90B7BF82-3422-92A9-FE06-386928F8A9A4}"/>
          </ac:picMkLst>
        </pc:picChg>
      </pc:sldChg>
      <pc:sldChg chg="addSp delSp modSp add mod ord modTransition modAnim modNotesTx">
        <pc:chgData name="Lin, Sibo" userId="ea051dd4-adc5-46dc-bb80-8ca847fcc2d8" providerId="ADAL" clId="{7EA2BB86-E007-45EB-866C-9A595ED0A894}" dt="2022-11-23T17:20:16.177" v="3777" actId="20577"/>
        <pc:sldMkLst>
          <pc:docMk/>
          <pc:sldMk cId="3142075541" sldId="694"/>
        </pc:sldMkLst>
        <pc:spChg chg="add mod">
          <ac:chgData name="Lin, Sibo" userId="ea051dd4-adc5-46dc-bb80-8ca847fcc2d8" providerId="ADAL" clId="{7EA2BB86-E007-45EB-866C-9A595ED0A894}" dt="2022-11-23T02:08:34.440" v="587" actId="164"/>
          <ac:spMkLst>
            <pc:docMk/>
            <pc:sldMk cId="3142075541" sldId="694"/>
            <ac:spMk id="2" creationId="{5748FADF-14C2-F16E-0577-468A9A210ABB}"/>
          </ac:spMkLst>
        </pc:spChg>
        <pc:spChg chg="mod">
          <ac:chgData name="Lin, Sibo" userId="ea051dd4-adc5-46dc-bb80-8ca847fcc2d8" providerId="ADAL" clId="{7EA2BB86-E007-45EB-866C-9A595ED0A894}" dt="2022-11-23T02:10:45.095" v="768" actId="1076"/>
          <ac:spMkLst>
            <pc:docMk/>
            <pc:sldMk cId="3142075541" sldId="694"/>
            <ac:spMk id="8" creationId="{9F32D644-4AC2-466D-ABE9-6B40720852C2}"/>
          </ac:spMkLst>
        </pc:spChg>
        <pc:spChg chg="del">
          <ac:chgData name="Lin, Sibo" userId="ea051dd4-adc5-46dc-bb80-8ca847fcc2d8" providerId="ADAL" clId="{7EA2BB86-E007-45EB-866C-9A595ED0A894}" dt="2022-11-23T02:10:09.909" v="619" actId="478"/>
          <ac:spMkLst>
            <pc:docMk/>
            <pc:sldMk cId="3142075541" sldId="694"/>
            <ac:spMk id="10" creationId="{17E2D1A8-233E-447E-9CB5-E21FE9D8A0C4}"/>
          </ac:spMkLst>
        </pc:spChg>
        <pc:spChg chg="add mod">
          <ac:chgData name="Lin, Sibo" userId="ea051dd4-adc5-46dc-bb80-8ca847fcc2d8" providerId="ADAL" clId="{7EA2BB86-E007-45EB-866C-9A595ED0A894}" dt="2022-11-23T02:08:44.449" v="593" actId="164"/>
          <ac:spMkLst>
            <pc:docMk/>
            <pc:sldMk cId="3142075541" sldId="694"/>
            <ac:spMk id="15" creationId="{7E69441D-3545-6BC1-0C88-33208758D61C}"/>
          </ac:spMkLst>
        </pc:spChg>
        <pc:spChg chg="add del mod">
          <ac:chgData name="Lin, Sibo" userId="ea051dd4-adc5-46dc-bb80-8ca847fcc2d8" providerId="ADAL" clId="{7EA2BB86-E007-45EB-866C-9A595ED0A894}" dt="2022-11-23T02:09:42.688" v="614"/>
          <ac:spMkLst>
            <pc:docMk/>
            <pc:sldMk cId="3142075541" sldId="694"/>
            <ac:spMk id="33" creationId="{F7CF85F7-1F37-968F-C4DF-944DA613164E}"/>
          </ac:spMkLst>
        </pc:spChg>
        <pc:spChg chg="add mod">
          <ac:chgData name="Lin, Sibo" userId="ea051dd4-adc5-46dc-bb80-8ca847fcc2d8" providerId="ADAL" clId="{7EA2BB86-E007-45EB-866C-9A595ED0A894}" dt="2022-11-23T02:09:55.892" v="617" actId="1076"/>
          <ac:spMkLst>
            <pc:docMk/>
            <pc:sldMk cId="3142075541" sldId="694"/>
            <ac:spMk id="37" creationId="{8549557D-93DC-49AC-5165-6F780B368107}"/>
          </ac:spMkLst>
        </pc:spChg>
        <pc:grpChg chg="add mod">
          <ac:chgData name="Lin, Sibo" userId="ea051dd4-adc5-46dc-bb80-8ca847fcc2d8" providerId="ADAL" clId="{7EA2BB86-E007-45EB-866C-9A595ED0A894}" dt="2022-11-23T02:09:03.059" v="603" actId="1076"/>
          <ac:grpSpMkLst>
            <pc:docMk/>
            <pc:sldMk cId="3142075541" sldId="694"/>
            <ac:grpSpMk id="16" creationId="{B26B738A-E8F0-A177-818F-CA6D63889BFF}"/>
          </ac:grpSpMkLst>
        </pc:grpChg>
        <pc:grpChg chg="add mod">
          <ac:chgData name="Lin, Sibo" userId="ea051dd4-adc5-46dc-bb80-8ca847fcc2d8" providerId="ADAL" clId="{7EA2BB86-E007-45EB-866C-9A595ED0A894}" dt="2022-11-23T02:09:46.440" v="615" actId="1076"/>
          <ac:grpSpMkLst>
            <pc:docMk/>
            <pc:sldMk cId="3142075541" sldId="694"/>
            <ac:grpSpMk id="18" creationId="{B4B97720-D71B-074A-6F8A-1F5DDEF66637}"/>
          </ac:grpSpMkLst>
        </pc:grpChg>
        <pc:graphicFrameChg chg="add mod">
          <ac:chgData name="Lin, Sibo" userId="ea051dd4-adc5-46dc-bb80-8ca847fcc2d8" providerId="ADAL" clId="{7EA2BB86-E007-45EB-866C-9A595ED0A894}" dt="2022-11-23T02:08:39.095" v="591" actId="1076"/>
          <ac:graphicFrameMkLst>
            <pc:docMk/>
            <pc:sldMk cId="3142075541" sldId="694"/>
            <ac:graphicFrameMk id="9" creationId="{EB1EF2B8-44E1-2FD1-1356-5A1CAE828E70}"/>
          </ac:graphicFrameMkLst>
        </pc:graphicFrameChg>
        <pc:graphicFrameChg chg="add mod">
          <ac:chgData name="Lin, Sibo" userId="ea051dd4-adc5-46dc-bb80-8ca847fcc2d8" providerId="ADAL" clId="{7EA2BB86-E007-45EB-866C-9A595ED0A894}" dt="2022-11-23T02:08:44.449" v="593" actId="164"/>
          <ac:graphicFrameMkLst>
            <pc:docMk/>
            <pc:sldMk cId="3142075541" sldId="694"/>
            <ac:graphicFrameMk id="14" creationId="{1E061AE5-FC26-4929-129A-C128F2A75AF1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2:09:21.415" v="610"/>
          <ac:graphicFrameMkLst>
            <pc:docMk/>
            <pc:sldMk cId="3142075541" sldId="694"/>
            <ac:graphicFrameMk id="29" creationId="{A8D7D802-8BCE-AE05-5B6B-12FB1F091530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2:09:21.415" v="610"/>
          <ac:graphicFrameMkLst>
            <pc:docMk/>
            <pc:sldMk cId="3142075541" sldId="694"/>
            <ac:graphicFrameMk id="30" creationId="{FE05631E-2B51-E0A2-78FB-1C7F463215D1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2:09:42.688" v="614"/>
          <ac:graphicFrameMkLst>
            <pc:docMk/>
            <pc:sldMk cId="3142075541" sldId="694"/>
            <ac:graphicFrameMk id="31" creationId="{E9D3348C-75D8-D380-AD9A-A7377CF75FBC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2:09:42.688" v="614"/>
          <ac:graphicFrameMkLst>
            <pc:docMk/>
            <pc:sldMk cId="3142075541" sldId="694"/>
            <ac:graphicFrameMk id="32" creationId="{1D890FD0-D04D-D4D7-F828-AEAA2F125B79}"/>
          </ac:graphicFrameMkLst>
        </pc:graphicFrameChg>
        <pc:graphicFrameChg chg="add mod">
          <ac:chgData name="Lin, Sibo" userId="ea051dd4-adc5-46dc-bb80-8ca847fcc2d8" providerId="ADAL" clId="{7EA2BB86-E007-45EB-866C-9A595ED0A894}" dt="2022-11-23T02:09:55.892" v="617" actId="1076"/>
          <ac:graphicFrameMkLst>
            <pc:docMk/>
            <pc:sldMk cId="3142075541" sldId="694"/>
            <ac:graphicFrameMk id="35" creationId="{39492D7C-0F6A-921B-8F26-62940BB53A94}"/>
          </ac:graphicFrameMkLst>
        </pc:graphicFrameChg>
        <pc:graphicFrameChg chg="add mod">
          <ac:chgData name="Lin, Sibo" userId="ea051dd4-adc5-46dc-bb80-8ca847fcc2d8" providerId="ADAL" clId="{7EA2BB86-E007-45EB-866C-9A595ED0A894}" dt="2022-11-23T02:09:55.892" v="617" actId="1076"/>
          <ac:graphicFrameMkLst>
            <pc:docMk/>
            <pc:sldMk cId="3142075541" sldId="694"/>
            <ac:graphicFrameMk id="36" creationId="{3D1E07EF-29AE-B596-6727-3DFB9F23B6F0}"/>
          </ac:graphicFrameMkLst>
        </pc:graphicFrameChg>
        <pc:picChg chg="add mod">
          <ac:chgData name="Lin, Sibo" userId="ea051dd4-adc5-46dc-bb80-8ca847fcc2d8" providerId="ADAL" clId="{7EA2BB86-E007-45EB-866C-9A595ED0A894}" dt="2022-11-23T02:08:34.440" v="587" actId="164"/>
          <ac:picMkLst>
            <pc:docMk/>
            <pc:sldMk cId="3142075541" sldId="694"/>
            <ac:picMk id="4" creationId="{B259A98C-5F21-9000-74C0-60C7DF48B67B}"/>
          </ac:picMkLst>
        </pc:picChg>
        <pc:picChg chg="del">
          <ac:chgData name="Lin, Sibo" userId="ea051dd4-adc5-46dc-bb80-8ca847fcc2d8" providerId="ADAL" clId="{7EA2BB86-E007-45EB-866C-9A595ED0A894}" dt="2022-11-23T02:08:15.516" v="583" actId="478"/>
          <ac:picMkLst>
            <pc:docMk/>
            <pc:sldMk cId="3142075541" sldId="694"/>
            <ac:picMk id="5" creationId="{DD26B37E-9274-48B5-A5FE-9BB4931A8184}"/>
          </ac:picMkLst>
        </pc:picChg>
        <pc:picChg chg="del">
          <ac:chgData name="Lin, Sibo" userId="ea051dd4-adc5-46dc-bb80-8ca847fcc2d8" providerId="ADAL" clId="{7EA2BB86-E007-45EB-866C-9A595ED0A894}" dt="2022-11-23T02:08:14.257" v="582" actId="478"/>
          <ac:picMkLst>
            <pc:docMk/>
            <pc:sldMk cId="3142075541" sldId="694"/>
            <ac:picMk id="7" creationId="{15C796A9-EED6-4AFE-BE73-82D97CD0F324}"/>
          </ac:picMkLst>
        </pc:picChg>
        <pc:picChg chg="add mod">
          <ac:chgData name="Lin, Sibo" userId="ea051dd4-adc5-46dc-bb80-8ca847fcc2d8" providerId="ADAL" clId="{7EA2BB86-E007-45EB-866C-9A595ED0A894}" dt="2022-11-23T02:08:44.449" v="593" actId="164"/>
          <ac:picMkLst>
            <pc:docMk/>
            <pc:sldMk cId="3142075541" sldId="694"/>
            <ac:picMk id="11" creationId="{3CBC4209-373C-CFA6-0FE5-11DB358CBAF4}"/>
          </ac:picMkLst>
        </pc:picChg>
      </pc:sldChg>
      <pc:sldChg chg="add del">
        <pc:chgData name="Lin, Sibo" userId="ea051dd4-adc5-46dc-bb80-8ca847fcc2d8" providerId="ADAL" clId="{7EA2BB86-E007-45EB-866C-9A595ED0A894}" dt="2022-11-23T04:27:01.757" v="1334" actId="47"/>
        <pc:sldMkLst>
          <pc:docMk/>
          <pc:sldMk cId="16167353" sldId="695"/>
        </pc:sldMkLst>
      </pc:sldChg>
      <pc:sldChg chg="new">
        <pc:chgData name="Lin, Sibo" userId="ea051dd4-adc5-46dc-bb80-8ca847fcc2d8" providerId="ADAL" clId="{7EA2BB86-E007-45EB-866C-9A595ED0A894}" dt="2022-11-23T04:27:55.402" v="1342" actId="680"/>
        <pc:sldMkLst>
          <pc:docMk/>
          <pc:sldMk cId="689013886" sldId="695"/>
        </pc:sldMkLst>
      </pc:sldChg>
      <pc:sldChg chg="addSp delSp modSp add del mod addAnim delAnim modAnim">
        <pc:chgData name="Lin, Sibo" userId="ea051dd4-adc5-46dc-bb80-8ca847fcc2d8" providerId="ADAL" clId="{7EA2BB86-E007-45EB-866C-9A595ED0A894}" dt="2022-11-23T06:00:09.260" v="1656" actId="20577"/>
        <pc:sldMkLst>
          <pc:docMk/>
          <pc:sldMk cId="1560134905" sldId="696"/>
        </pc:sldMkLst>
        <pc:spChg chg="mod">
          <ac:chgData name="Lin, Sibo" userId="ea051dd4-adc5-46dc-bb80-8ca847fcc2d8" providerId="ADAL" clId="{7EA2BB86-E007-45EB-866C-9A595ED0A894}" dt="2022-11-23T06:00:00.436" v="1654" actId="20577"/>
          <ac:spMkLst>
            <pc:docMk/>
            <pc:sldMk cId="1560134905" sldId="696"/>
            <ac:spMk id="2" creationId="{00000000-0000-0000-0000-000000000000}"/>
          </ac:spMkLst>
        </pc:spChg>
        <pc:spChg chg="add del mod">
          <ac:chgData name="Lin, Sibo" userId="ea051dd4-adc5-46dc-bb80-8ca847fcc2d8" providerId="ADAL" clId="{7EA2BB86-E007-45EB-866C-9A595ED0A894}" dt="2022-11-23T04:31:54.551" v="1379" actId="1076"/>
          <ac:spMkLst>
            <pc:docMk/>
            <pc:sldMk cId="1560134905" sldId="696"/>
            <ac:spMk id="5" creationId="{00000000-0000-0000-0000-000000000000}"/>
          </ac:spMkLst>
        </pc:spChg>
        <pc:spChg chg="mod">
          <ac:chgData name="Lin, Sibo" userId="ea051dd4-adc5-46dc-bb80-8ca847fcc2d8" providerId="ADAL" clId="{7EA2BB86-E007-45EB-866C-9A595ED0A894}" dt="2022-11-23T04:33:22.274" v="1419" actId="1076"/>
          <ac:spMkLst>
            <pc:docMk/>
            <pc:sldMk cId="1560134905" sldId="696"/>
            <ac:spMk id="15" creationId="{00000000-0000-0000-0000-000000000000}"/>
          </ac:spMkLst>
        </pc:spChg>
        <pc:spChg chg="add mod">
          <ac:chgData name="Lin, Sibo" userId="ea051dd4-adc5-46dc-bb80-8ca847fcc2d8" providerId="ADAL" clId="{7EA2BB86-E007-45EB-866C-9A595ED0A894}" dt="2022-11-23T04:34:13.171" v="1425" actId="207"/>
          <ac:spMkLst>
            <pc:docMk/>
            <pc:sldMk cId="1560134905" sldId="696"/>
            <ac:spMk id="16" creationId="{60FAB1C6-36F4-A53C-5B38-93E90425D24D}"/>
          </ac:spMkLst>
        </pc:spChg>
        <pc:spChg chg="mod">
          <ac:chgData name="Lin, Sibo" userId="ea051dd4-adc5-46dc-bb80-8ca847fcc2d8" providerId="ADAL" clId="{7EA2BB86-E007-45EB-866C-9A595ED0A894}" dt="2022-11-23T04:34:19.826" v="1427"/>
          <ac:spMkLst>
            <pc:docMk/>
            <pc:sldMk cId="1560134905" sldId="696"/>
            <ac:spMk id="19" creationId="{0B1D045B-31D8-A2C1-8593-C42EE77399F7}"/>
          </ac:spMkLst>
        </pc:spChg>
        <pc:spChg chg="mod">
          <ac:chgData name="Lin, Sibo" userId="ea051dd4-adc5-46dc-bb80-8ca847fcc2d8" providerId="ADAL" clId="{7EA2BB86-E007-45EB-866C-9A595ED0A894}" dt="2022-11-23T04:33:25.861" v="1420" actId="1076"/>
          <ac:spMkLst>
            <pc:docMk/>
            <pc:sldMk cId="1560134905" sldId="696"/>
            <ac:spMk id="21" creationId="{00000000-0000-0000-0000-000000000000}"/>
          </ac:spMkLst>
        </pc:spChg>
        <pc:spChg chg="mod">
          <ac:chgData name="Lin, Sibo" userId="ea051dd4-adc5-46dc-bb80-8ca847fcc2d8" providerId="ADAL" clId="{7EA2BB86-E007-45EB-866C-9A595ED0A894}" dt="2022-11-23T04:33:35.904" v="1422" actId="1076"/>
          <ac:spMkLst>
            <pc:docMk/>
            <pc:sldMk cId="1560134905" sldId="696"/>
            <ac:spMk id="23" creationId="{00000000-0000-0000-0000-000000000000}"/>
          </ac:spMkLst>
        </pc:spChg>
        <pc:spChg chg="mod">
          <ac:chgData name="Lin, Sibo" userId="ea051dd4-adc5-46dc-bb80-8ca847fcc2d8" providerId="ADAL" clId="{7EA2BB86-E007-45EB-866C-9A595ED0A894}" dt="2022-11-23T04:34:19.826" v="1427"/>
          <ac:spMkLst>
            <pc:docMk/>
            <pc:sldMk cId="1560134905" sldId="696"/>
            <ac:spMk id="30" creationId="{D8210F82-5346-4397-0393-6E0137C7EC52}"/>
          </ac:spMkLst>
        </pc:spChg>
        <pc:spChg chg="mod">
          <ac:chgData name="Lin, Sibo" userId="ea051dd4-adc5-46dc-bb80-8ca847fcc2d8" providerId="ADAL" clId="{7EA2BB86-E007-45EB-866C-9A595ED0A894}" dt="2022-11-23T04:33:29.533" v="1421" actId="1076"/>
          <ac:spMkLst>
            <pc:docMk/>
            <pc:sldMk cId="1560134905" sldId="696"/>
            <ac:spMk id="39" creationId="{00000000-0000-0000-0000-000000000000}"/>
          </ac:spMkLst>
        </pc:spChg>
        <pc:spChg chg="mod">
          <ac:chgData name="Lin, Sibo" userId="ea051dd4-adc5-46dc-bb80-8ca847fcc2d8" providerId="ADAL" clId="{7EA2BB86-E007-45EB-866C-9A595ED0A894}" dt="2022-11-23T04:33:38.796" v="1423" actId="1076"/>
          <ac:spMkLst>
            <pc:docMk/>
            <pc:sldMk cId="1560134905" sldId="696"/>
            <ac:spMk id="41" creationId="{00000000-0000-0000-0000-000000000000}"/>
          </ac:spMkLst>
        </pc:spChg>
        <pc:spChg chg="mod">
          <ac:chgData name="Lin, Sibo" userId="ea051dd4-adc5-46dc-bb80-8ca847fcc2d8" providerId="ADAL" clId="{7EA2BB86-E007-45EB-866C-9A595ED0A894}" dt="2022-11-23T04:34:19.826" v="1427"/>
          <ac:spMkLst>
            <pc:docMk/>
            <pc:sldMk cId="1560134905" sldId="696"/>
            <ac:spMk id="42" creationId="{BF7AA60F-7C4F-E53C-0941-6762B3ADDCE2}"/>
          </ac:spMkLst>
        </pc:spChg>
        <pc:spChg chg="mod">
          <ac:chgData name="Lin, Sibo" userId="ea051dd4-adc5-46dc-bb80-8ca847fcc2d8" providerId="ADAL" clId="{7EA2BB86-E007-45EB-866C-9A595ED0A894}" dt="2022-11-23T04:34:19.826" v="1427"/>
          <ac:spMkLst>
            <pc:docMk/>
            <pc:sldMk cId="1560134905" sldId="696"/>
            <ac:spMk id="45" creationId="{5951425B-726D-F7B9-E5E8-54DB6DA75230}"/>
          </ac:spMkLst>
        </pc:spChg>
        <pc:grpChg chg="add mod">
          <ac:chgData name="Lin, Sibo" userId="ea051dd4-adc5-46dc-bb80-8ca847fcc2d8" providerId="ADAL" clId="{7EA2BB86-E007-45EB-866C-9A595ED0A894}" dt="2022-11-23T04:34:19.826" v="1427"/>
          <ac:grpSpMkLst>
            <pc:docMk/>
            <pc:sldMk cId="1560134905" sldId="696"/>
            <ac:grpSpMk id="17" creationId="{B20B1F32-A88F-F008-DA5C-998657C885E1}"/>
          </ac:grpSpMkLst>
        </pc:grpChg>
        <pc:grpChg chg="add mod">
          <ac:chgData name="Lin, Sibo" userId="ea051dd4-adc5-46dc-bb80-8ca847fcc2d8" providerId="ADAL" clId="{7EA2BB86-E007-45EB-866C-9A595ED0A894}" dt="2022-11-23T04:34:19.826" v="1427"/>
          <ac:grpSpMkLst>
            <pc:docMk/>
            <pc:sldMk cId="1560134905" sldId="696"/>
            <ac:grpSpMk id="24" creationId="{DF1CC4D7-B78E-F53F-156A-1F6C177179BF}"/>
          </ac:grpSpMkLst>
        </pc:grpChg>
        <pc:grpChg chg="add mod">
          <ac:chgData name="Lin, Sibo" userId="ea051dd4-adc5-46dc-bb80-8ca847fcc2d8" providerId="ADAL" clId="{7EA2BB86-E007-45EB-866C-9A595ED0A894}" dt="2022-11-23T04:34:19.826" v="1427"/>
          <ac:grpSpMkLst>
            <pc:docMk/>
            <pc:sldMk cId="1560134905" sldId="696"/>
            <ac:grpSpMk id="37" creationId="{9AC13E3B-9338-8E2D-88AB-082DC5380B3C}"/>
          </ac:grpSpMkLst>
        </pc:grpChg>
        <pc:grpChg chg="add mod">
          <ac:chgData name="Lin, Sibo" userId="ea051dd4-adc5-46dc-bb80-8ca847fcc2d8" providerId="ADAL" clId="{7EA2BB86-E007-45EB-866C-9A595ED0A894}" dt="2022-11-23T04:34:19.826" v="1427"/>
          <ac:grpSpMkLst>
            <pc:docMk/>
            <pc:sldMk cId="1560134905" sldId="696"/>
            <ac:grpSpMk id="44" creationId="{96153C70-F0C0-C271-EE79-2743A9668BEA}"/>
          </ac:grpSpMkLst>
        </pc:grpChg>
        <pc:graphicFrameChg chg="add del">
          <ac:chgData name="Lin, Sibo" userId="ea051dd4-adc5-46dc-bb80-8ca847fcc2d8" providerId="ADAL" clId="{7EA2BB86-E007-45EB-866C-9A595ED0A894}" dt="2022-11-23T04:31:55.092" v="1380" actId="478"/>
          <ac:graphicFrameMkLst>
            <pc:docMk/>
            <pc:sldMk cId="1560134905" sldId="696"/>
            <ac:graphicFrameMk id="4" creationId="{00000000-0000-0000-0000-000000000000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4:33:06.498" v="1413"/>
          <ac:graphicFrameMkLst>
            <pc:docMk/>
            <pc:sldMk cId="1560134905" sldId="696"/>
            <ac:graphicFrameMk id="8" creationId="{721E6C81-FCDC-4F58-0333-F49A286151E5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4:33:05.698" v="1411"/>
          <ac:graphicFrameMkLst>
            <pc:docMk/>
            <pc:sldMk cId="1560134905" sldId="696"/>
            <ac:graphicFrameMk id="9" creationId="{5295F033-1431-A777-F462-E91A99606977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4:33:04.745" v="1409"/>
          <ac:graphicFrameMkLst>
            <pc:docMk/>
            <pc:sldMk cId="1560134905" sldId="696"/>
            <ac:graphicFrameMk id="12" creationId="{9BD9E9FB-8E22-AF83-ABCB-48D09E6D4CC1}"/>
          </ac:graphicFrameMkLst>
        </pc:graphicFrameChg>
        <pc:picChg chg="del">
          <ac:chgData name="Lin, Sibo" userId="ea051dd4-adc5-46dc-bb80-8ca847fcc2d8" providerId="ADAL" clId="{7EA2BB86-E007-45EB-866C-9A595ED0A894}" dt="2022-11-23T04:33:15.369" v="1416" actId="478"/>
          <ac:picMkLst>
            <pc:docMk/>
            <pc:sldMk cId="1560134905" sldId="696"/>
            <ac:picMk id="3" creationId="{00000000-0000-0000-0000-000000000000}"/>
          </ac:picMkLst>
        </pc:picChg>
        <pc:picChg chg="del">
          <ac:chgData name="Lin, Sibo" userId="ea051dd4-adc5-46dc-bb80-8ca847fcc2d8" providerId="ADAL" clId="{7EA2BB86-E007-45EB-866C-9A595ED0A894}" dt="2022-11-23T04:33:17.173" v="1417" actId="478"/>
          <ac:picMkLst>
            <pc:docMk/>
            <pc:sldMk cId="1560134905" sldId="696"/>
            <ac:picMk id="11" creationId="{00000000-0000-0000-0000-000000000000}"/>
          </ac:picMkLst>
        </pc:picChg>
        <pc:picChg chg="del">
          <ac:chgData name="Lin, Sibo" userId="ea051dd4-adc5-46dc-bb80-8ca847fcc2d8" providerId="ADAL" clId="{7EA2BB86-E007-45EB-866C-9A595ED0A894}" dt="2022-11-23T04:33:18.727" v="1418" actId="478"/>
          <ac:picMkLst>
            <pc:docMk/>
            <pc:sldMk cId="1560134905" sldId="696"/>
            <ac:picMk id="13" creationId="{00000000-0000-0000-0000-000000000000}"/>
          </ac:picMkLst>
        </pc:picChg>
        <pc:picChg chg="mod">
          <ac:chgData name="Lin, Sibo" userId="ea051dd4-adc5-46dc-bb80-8ca847fcc2d8" providerId="ADAL" clId="{7EA2BB86-E007-45EB-866C-9A595ED0A894}" dt="2022-11-23T04:34:19.826" v="1427"/>
          <ac:picMkLst>
            <pc:docMk/>
            <pc:sldMk cId="1560134905" sldId="696"/>
            <ac:picMk id="18" creationId="{AFBABF63-F0A6-AD97-1744-903F8F9598DC}"/>
          </ac:picMkLst>
        </pc:picChg>
        <pc:picChg chg="mod">
          <ac:chgData name="Lin, Sibo" userId="ea051dd4-adc5-46dc-bb80-8ca847fcc2d8" providerId="ADAL" clId="{7EA2BB86-E007-45EB-866C-9A595ED0A894}" dt="2022-11-23T04:34:19.826" v="1427"/>
          <ac:picMkLst>
            <pc:docMk/>
            <pc:sldMk cId="1560134905" sldId="696"/>
            <ac:picMk id="27" creationId="{545AEFE9-692E-A27E-A9AB-A2221B26FB9C}"/>
          </ac:picMkLst>
        </pc:picChg>
        <pc:picChg chg="mod">
          <ac:chgData name="Lin, Sibo" userId="ea051dd4-adc5-46dc-bb80-8ca847fcc2d8" providerId="ADAL" clId="{7EA2BB86-E007-45EB-866C-9A595ED0A894}" dt="2022-11-23T04:34:19.826" v="1427"/>
          <ac:picMkLst>
            <pc:docMk/>
            <pc:sldMk cId="1560134905" sldId="696"/>
            <ac:picMk id="43" creationId="{69F68612-C268-CA64-0AE6-DEB85453F6D3}"/>
          </ac:picMkLst>
        </pc:picChg>
        <pc:picChg chg="mod">
          <ac:chgData name="Lin, Sibo" userId="ea051dd4-adc5-46dc-bb80-8ca847fcc2d8" providerId="ADAL" clId="{7EA2BB86-E007-45EB-866C-9A595ED0A894}" dt="2022-11-23T04:34:19.826" v="1427"/>
          <ac:picMkLst>
            <pc:docMk/>
            <pc:sldMk cId="1560134905" sldId="696"/>
            <ac:picMk id="46" creationId="{838978CC-8DEB-FCB7-C5E4-AD39A9F7AA9B}"/>
          </ac:picMkLst>
        </pc:picChg>
      </pc:sldChg>
      <pc:sldChg chg="addSp delSp modSp add mod delAnim modAnim">
        <pc:chgData name="Lin, Sibo" userId="ea051dd4-adc5-46dc-bb80-8ca847fcc2d8" providerId="ADAL" clId="{7EA2BB86-E007-45EB-866C-9A595ED0A894}" dt="2022-11-23T15:37:19.687" v="3457" actId="1076"/>
        <pc:sldMkLst>
          <pc:docMk/>
          <pc:sldMk cId="2876255660" sldId="697"/>
        </pc:sldMkLst>
        <pc:spChg chg="add del mod">
          <ac:chgData name="Lin, Sibo" userId="ea051dd4-adc5-46dc-bb80-8ca847fcc2d8" providerId="ADAL" clId="{7EA2BB86-E007-45EB-866C-9A595ED0A894}" dt="2022-11-23T04:44:07.993" v="1466" actId="11529"/>
          <ac:spMkLst>
            <pc:docMk/>
            <pc:sldMk cId="2876255660" sldId="697"/>
            <ac:spMk id="3" creationId="{8F0E9377-AE8B-23F5-261B-037FC9E2E020}"/>
          </ac:spMkLst>
        </pc:spChg>
        <pc:spChg chg="add del mod">
          <ac:chgData name="Lin, Sibo" userId="ea051dd4-adc5-46dc-bb80-8ca847fcc2d8" providerId="ADAL" clId="{7EA2BB86-E007-45EB-866C-9A595ED0A894}" dt="2022-11-23T04:44:01.954" v="1464"/>
          <ac:spMkLst>
            <pc:docMk/>
            <pc:sldMk cId="2876255660" sldId="697"/>
            <ac:spMk id="11" creationId="{19958FB0-0242-6CFF-AADF-6306DDF9F56C}"/>
          </ac:spMkLst>
        </pc:spChg>
        <pc:spChg chg="add del mod">
          <ac:chgData name="Lin, Sibo" userId="ea051dd4-adc5-46dc-bb80-8ca847fcc2d8" providerId="ADAL" clId="{7EA2BB86-E007-45EB-866C-9A595ED0A894}" dt="2022-11-23T04:44:01.954" v="1464"/>
          <ac:spMkLst>
            <pc:docMk/>
            <pc:sldMk cId="2876255660" sldId="697"/>
            <ac:spMk id="12" creationId="{CD1641CF-841D-B689-3F65-C958F7CA1BA9}"/>
          </ac:spMkLst>
        </pc:spChg>
        <pc:spChg chg="add del mod">
          <ac:chgData name="Lin, Sibo" userId="ea051dd4-adc5-46dc-bb80-8ca847fcc2d8" providerId="ADAL" clId="{7EA2BB86-E007-45EB-866C-9A595ED0A894}" dt="2022-11-23T04:44:01.954" v="1464"/>
          <ac:spMkLst>
            <pc:docMk/>
            <pc:sldMk cId="2876255660" sldId="697"/>
            <ac:spMk id="13" creationId="{9B5B4673-A6C6-5451-A1AA-2E1AC0F6A5B2}"/>
          </ac:spMkLst>
        </pc:spChg>
        <pc:spChg chg="del">
          <ac:chgData name="Lin, Sibo" userId="ea051dd4-adc5-46dc-bb80-8ca847fcc2d8" providerId="ADAL" clId="{7EA2BB86-E007-45EB-866C-9A595ED0A894}" dt="2022-11-23T04:45:06.542" v="1481" actId="478"/>
          <ac:spMkLst>
            <pc:docMk/>
            <pc:sldMk cId="2876255660" sldId="697"/>
            <ac:spMk id="15" creationId="{00000000-0000-0000-0000-000000000000}"/>
          </ac:spMkLst>
        </pc:spChg>
        <pc:spChg chg="del">
          <ac:chgData name="Lin, Sibo" userId="ea051dd4-adc5-46dc-bb80-8ca847fcc2d8" providerId="ADAL" clId="{7EA2BB86-E007-45EB-866C-9A595ED0A894}" dt="2022-11-23T04:45:06.542" v="1481" actId="478"/>
          <ac:spMkLst>
            <pc:docMk/>
            <pc:sldMk cId="2876255660" sldId="697"/>
            <ac:spMk id="21" creationId="{00000000-0000-0000-0000-000000000000}"/>
          </ac:spMkLst>
        </pc:spChg>
        <pc:spChg chg="del">
          <ac:chgData name="Lin, Sibo" userId="ea051dd4-adc5-46dc-bb80-8ca847fcc2d8" providerId="ADAL" clId="{7EA2BB86-E007-45EB-866C-9A595ED0A894}" dt="2022-11-23T04:45:06.542" v="1481" actId="478"/>
          <ac:spMkLst>
            <pc:docMk/>
            <pc:sldMk cId="2876255660" sldId="697"/>
            <ac:spMk id="22" creationId="{00000000-0000-0000-0000-000000000000}"/>
          </ac:spMkLst>
        </pc:spChg>
        <pc:spChg chg="del">
          <ac:chgData name="Lin, Sibo" userId="ea051dd4-adc5-46dc-bb80-8ca847fcc2d8" providerId="ADAL" clId="{7EA2BB86-E007-45EB-866C-9A595ED0A894}" dt="2022-11-23T04:45:06.542" v="1481" actId="478"/>
          <ac:spMkLst>
            <pc:docMk/>
            <pc:sldMk cId="2876255660" sldId="697"/>
            <ac:spMk id="23" creationId="{00000000-0000-0000-0000-000000000000}"/>
          </ac:spMkLst>
        </pc:spChg>
        <pc:spChg chg="del">
          <ac:chgData name="Lin, Sibo" userId="ea051dd4-adc5-46dc-bb80-8ca847fcc2d8" providerId="ADAL" clId="{7EA2BB86-E007-45EB-866C-9A595ED0A894}" dt="2022-11-23T04:45:06.542" v="1481" actId="478"/>
          <ac:spMkLst>
            <pc:docMk/>
            <pc:sldMk cId="2876255660" sldId="697"/>
            <ac:spMk id="38" creationId="{00000000-0000-0000-0000-000000000000}"/>
          </ac:spMkLst>
        </pc:spChg>
        <pc:spChg chg="del">
          <ac:chgData name="Lin, Sibo" userId="ea051dd4-adc5-46dc-bb80-8ca847fcc2d8" providerId="ADAL" clId="{7EA2BB86-E007-45EB-866C-9A595ED0A894}" dt="2022-11-23T04:45:06.542" v="1481" actId="478"/>
          <ac:spMkLst>
            <pc:docMk/>
            <pc:sldMk cId="2876255660" sldId="697"/>
            <ac:spMk id="39" creationId="{00000000-0000-0000-0000-000000000000}"/>
          </ac:spMkLst>
        </pc:spChg>
        <pc:spChg chg="del">
          <ac:chgData name="Lin, Sibo" userId="ea051dd4-adc5-46dc-bb80-8ca847fcc2d8" providerId="ADAL" clId="{7EA2BB86-E007-45EB-866C-9A595ED0A894}" dt="2022-11-23T04:45:06.542" v="1481" actId="478"/>
          <ac:spMkLst>
            <pc:docMk/>
            <pc:sldMk cId="2876255660" sldId="697"/>
            <ac:spMk id="40" creationId="{00000000-0000-0000-0000-000000000000}"/>
          </ac:spMkLst>
        </pc:spChg>
        <pc:spChg chg="del">
          <ac:chgData name="Lin, Sibo" userId="ea051dd4-adc5-46dc-bb80-8ca847fcc2d8" providerId="ADAL" clId="{7EA2BB86-E007-45EB-866C-9A595ED0A894}" dt="2022-11-23T04:45:06.542" v="1481" actId="478"/>
          <ac:spMkLst>
            <pc:docMk/>
            <pc:sldMk cId="2876255660" sldId="697"/>
            <ac:spMk id="41" creationId="{00000000-0000-0000-0000-000000000000}"/>
          </ac:spMkLst>
        </pc:spChg>
        <pc:spChg chg="add del mod">
          <ac:chgData name="Lin, Sibo" userId="ea051dd4-adc5-46dc-bb80-8ca847fcc2d8" providerId="ADAL" clId="{7EA2BB86-E007-45EB-866C-9A595ED0A894}" dt="2022-11-23T04:44:01.954" v="1464"/>
          <ac:spMkLst>
            <pc:docMk/>
            <pc:sldMk cId="2876255660" sldId="697"/>
            <ac:spMk id="47" creationId="{9C1E5FBC-C1F2-3CE8-B7F9-101D1B582AB3}"/>
          </ac:spMkLst>
        </pc:spChg>
        <pc:spChg chg="add del mod">
          <ac:chgData name="Lin, Sibo" userId="ea051dd4-adc5-46dc-bb80-8ca847fcc2d8" providerId="ADAL" clId="{7EA2BB86-E007-45EB-866C-9A595ED0A894}" dt="2022-11-23T04:44:01.954" v="1464"/>
          <ac:spMkLst>
            <pc:docMk/>
            <pc:sldMk cId="2876255660" sldId="697"/>
            <ac:spMk id="50" creationId="{EEBEFBCE-649F-A5DB-9EC7-6FAB2B2C73EE}"/>
          </ac:spMkLst>
        </pc:spChg>
        <pc:spChg chg="add del mod">
          <ac:chgData name="Lin, Sibo" userId="ea051dd4-adc5-46dc-bb80-8ca847fcc2d8" providerId="ADAL" clId="{7EA2BB86-E007-45EB-866C-9A595ED0A894}" dt="2022-11-23T04:44:01.954" v="1464"/>
          <ac:spMkLst>
            <pc:docMk/>
            <pc:sldMk cId="2876255660" sldId="697"/>
            <ac:spMk id="51" creationId="{D744DFDF-75C6-3FB6-9475-4770F60E8C64}"/>
          </ac:spMkLst>
        </pc:spChg>
        <pc:spChg chg="add del mod">
          <ac:chgData name="Lin, Sibo" userId="ea051dd4-adc5-46dc-bb80-8ca847fcc2d8" providerId="ADAL" clId="{7EA2BB86-E007-45EB-866C-9A595ED0A894}" dt="2022-11-23T04:45:02.604" v="1480" actId="11529"/>
          <ac:spMkLst>
            <pc:docMk/>
            <pc:sldMk cId="2876255660" sldId="697"/>
            <ac:spMk id="52" creationId="{BF039E2E-9AF7-D283-1099-5060E39A93EE}"/>
          </ac:spMkLst>
        </pc:spChg>
        <pc:spChg chg="add del">
          <ac:chgData name="Lin, Sibo" userId="ea051dd4-adc5-46dc-bb80-8ca847fcc2d8" providerId="ADAL" clId="{7EA2BB86-E007-45EB-866C-9A595ED0A894}" dt="2022-11-23T04:44:55.829" v="1476" actId="11529"/>
          <ac:spMkLst>
            <pc:docMk/>
            <pc:sldMk cId="2876255660" sldId="697"/>
            <ac:spMk id="53" creationId="{389C2475-2BDE-4B83-211D-6C6ADE62C53D}"/>
          </ac:spMkLst>
        </pc:spChg>
        <pc:spChg chg="add del mod">
          <ac:chgData name="Lin, Sibo" userId="ea051dd4-adc5-46dc-bb80-8ca847fcc2d8" providerId="ADAL" clId="{7EA2BB86-E007-45EB-866C-9A595ED0A894}" dt="2022-11-23T04:45:01.706" v="1478"/>
          <ac:spMkLst>
            <pc:docMk/>
            <pc:sldMk cId="2876255660" sldId="697"/>
            <ac:spMk id="55" creationId="{ADB9F29C-901E-53D9-5480-4B6E52FFEE22}"/>
          </ac:spMkLst>
        </pc:spChg>
        <pc:spChg chg="add del mod">
          <ac:chgData name="Lin, Sibo" userId="ea051dd4-adc5-46dc-bb80-8ca847fcc2d8" providerId="ADAL" clId="{7EA2BB86-E007-45EB-866C-9A595ED0A894}" dt="2022-11-23T04:45:01.706" v="1478"/>
          <ac:spMkLst>
            <pc:docMk/>
            <pc:sldMk cId="2876255660" sldId="697"/>
            <ac:spMk id="59" creationId="{2FD61173-06E1-7DF4-8AA8-B4F538FF8AA2}"/>
          </ac:spMkLst>
        </pc:spChg>
        <pc:spChg chg="add del mod">
          <ac:chgData name="Lin, Sibo" userId="ea051dd4-adc5-46dc-bb80-8ca847fcc2d8" providerId="ADAL" clId="{7EA2BB86-E007-45EB-866C-9A595ED0A894}" dt="2022-11-23T04:45:01.706" v="1478"/>
          <ac:spMkLst>
            <pc:docMk/>
            <pc:sldMk cId="2876255660" sldId="697"/>
            <ac:spMk id="60" creationId="{CD655C45-D30A-A0C3-87BA-D3A58A1FF9F4}"/>
          </ac:spMkLst>
        </pc:spChg>
        <pc:spChg chg="add del mod">
          <ac:chgData name="Lin, Sibo" userId="ea051dd4-adc5-46dc-bb80-8ca847fcc2d8" providerId="ADAL" clId="{7EA2BB86-E007-45EB-866C-9A595ED0A894}" dt="2022-11-23T04:45:01.706" v="1478"/>
          <ac:spMkLst>
            <pc:docMk/>
            <pc:sldMk cId="2876255660" sldId="697"/>
            <ac:spMk id="61" creationId="{04C35CE7-5643-D63E-15B1-0F55AA1FF79F}"/>
          </ac:spMkLst>
        </pc:spChg>
        <pc:spChg chg="add del mod">
          <ac:chgData name="Lin, Sibo" userId="ea051dd4-adc5-46dc-bb80-8ca847fcc2d8" providerId="ADAL" clId="{7EA2BB86-E007-45EB-866C-9A595ED0A894}" dt="2022-11-23T04:45:01.706" v="1478"/>
          <ac:spMkLst>
            <pc:docMk/>
            <pc:sldMk cId="2876255660" sldId="697"/>
            <ac:spMk id="62" creationId="{1C8299BA-C88F-0904-019C-5AD014E5801A}"/>
          </ac:spMkLst>
        </pc:spChg>
        <pc:spChg chg="add del mod">
          <ac:chgData name="Lin, Sibo" userId="ea051dd4-adc5-46dc-bb80-8ca847fcc2d8" providerId="ADAL" clId="{7EA2BB86-E007-45EB-866C-9A595ED0A894}" dt="2022-11-23T04:45:01.706" v="1478"/>
          <ac:spMkLst>
            <pc:docMk/>
            <pc:sldMk cId="2876255660" sldId="697"/>
            <ac:spMk id="65" creationId="{7788BD25-B148-5AAA-BD9F-C8F4310F9809}"/>
          </ac:spMkLst>
        </pc:spChg>
        <pc:spChg chg="add del mod">
          <ac:chgData name="Lin, Sibo" userId="ea051dd4-adc5-46dc-bb80-8ca847fcc2d8" providerId="ADAL" clId="{7EA2BB86-E007-45EB-866C-9A595ED0A894}" dt="2022-11-23T04:45:01.706" v="1478"/>
          <ac:spMkLst>
            <pc:docMk/>
            <pc:sldMk cId="2876255660" sldId="697"/>
            <ac:spMk id="66" creationId="{9A974639-069A-8F58-19E6-B7F09CC7DC0E}"/>
          </ac:spMkLst>
        </pc:spChg>
        <pc:spChg chg="add mod">
          <ac:chgData name="Lin, Sibo" userId="ea051dd4-adc5-46dc-bb80-8ca847fcc2d8" providerId="ADAL" clId="{7EA2BB86-E007-45EB-866C-9A595ED0A894}" dt="2022-11-23T04:45:20.350" v="1502" actId="20577"/>
          <ac:spMkLst>
            <pc:docMk/>
            <pc:sldMk cId="2876255660" sldId="697"/>
            <ac:spMk id="69" creationId="{3304D991-9FB5-2116-EB68-9552907C758B}"/>
          </ac:spMkLst>
        </pc:spChg>
        <pc:spChg chg="add mod">
          <ac:chgData name="Lin, Sibo" userId="ea051dd4-adc5-46dc-bb80-8ca847fcc2d8" providerId="ADAL" clId="{7EA2BB86-E007-45EB-866C-9A595ED0A894}" dt="2022-11-23T04:45:13.517" v="1483" actId="1076"/>
          <ac:spMkLst>
            <pc:docMk/>
            <pc:sldMk cId="2876255660" sldId="697"/>
            <ac:spMk id="73" creationId="{78A02D8E-B28F-67A7-341D-5873C2676E06}"/>
          </ac:spMkLst>
        </pc:spChg>
        <pc:spChg chg="add mod">
          <ac:chgData name="Lin, Sibo" userId="ea051dd4-adc5-46dc-bb80-8ca847fcc2d8" providerId="ADAL" clId="{7EA2BB86-E007-45EB-866C-9A595ED0A894}" dt="2022-11-23T04:45:13.517" v="1483" actId="1076"/>
          <ac:spMkLst>
            <pc:docMk/>
            <pc:sldMk cId="2876255660" sldId="697"/>
            <ac:spMk id="74" creationId="{6BB52E15-E381-C042-7DFD-B3AC368ED490}"/>
          </ac:spMkLst>
        </pc:spChg>
        <pc:spChg chg="add mod">
          <ac:chgData name="Lin, Sibo" userId="ea051dd4-adc5-46dc-bb80-8ca847fcc2d8" providerId="ADAL" clId="{7EA2BB86-E007-45EB-866C-9A595ED0A894}" dt="2022-11-23T15:37:10.050" v="3455" actId="1076"/>
          <ac:spMkLst>
            <pc:docMk/>
            <pc:sldMk cId="2876255660" sldId="697"/>
            <ac:spMk id="75" creationId="{D2AFC988-D0AF-2F03-C4E6-16C5543BE578}"/>
          </ac:spMkLst>
        </pc:spChg>
        <pc:spChg chg="add mod">
          <ac:chgData name="Lin, Sibo" userId="ea051dd4-adc5-46dc-bb80-8ca847fcc2d8" providerId="ADAL" clId="{7EA2BB86-E007-45EB-866C-9A595ED0A894}" dt="2022-11-23T04:45:13.517" v="1483" actId="1076"/>
          <ac:spMkLst>
            <pc:docMk/>
            <pc:sldMk cId="2876255660" sldId="697"/>
            <ac:spMk id="76" creationId="{436B1361-1442-639A-160D-31A702ABE405}"/>
          </ac:spMkLst>
        </pc:spChg>
        <pc:spChg chg="add mod">
          <ac:chgData name="Lin, Sibo" userId="ea051dd4-adc5-46dc-bb80-8ca847fcc2d8" providerId="ADAL" clId="{7EA2BB86-E007-45EB-866C-9A595ED0A894}" dt="2022-11-23T04:45:13.517" v="1483" actId="1076"/>
          <ac:spMkLst>
            <pc:docMk/>
            <pc:sldMk cId="2876255660" sldId="697"/>
            <ac:spMk id="79" creationId="{2891F1B1-5DE8-3365-86F9-05037BCD5FD0}"/>
          </ac:spMkLst>
        </pc:spChg>
        <pc:spChg chg="add mod">
          <ac:chgData name="Lin, Sibo" userId="ea051dd4-adc5-46dc-bb80-8ca847fcc2d8" providerId="ADAL" clId="{7EA2BB86-E007-45EB-866C-9A595ED0A894}" dt="2022-11-23T15:37:19.687" v="3457" actId="1076"/>
          <ac:spMkLst>
            <pc:docMk/>
            <pc:sldMk cId="2876255660" sldId="697"/>
            <ac:spMk id="80" creationId="{92B69F13-8183-D88B-267A-664E6BB00D87}"/>
          </ac:spMkLst>
        </pc:spChg>
        <pc:graphicFrameChg chg="add del mod">
          <ac:chgData name="Lin, Sibo" userId="ea051dd4-adc5-46dc-bb80-8ca847fcc2d8" providerId="ADAL" clId="{7EA2BB86-E007-45EB-866C-9A595ED0A894}" dt="2022-11-23T04:44:01.954" v="1464"/>
          <ac:graphicFrameMkLst>
            <pc:docMk/>
            <pc:sldMk cId="2876255660" sldId="697"/>
            <ac:graphicFrameMk id="8" creationId="{C91BF16C-A6AA-EC36-8E90-3D290ADC0FC2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4:44:01.954" v="1464"/>
          <ac:graphicFrameMkLst>
            <pc:docMk/>
            <pc:sldMk cId="2876255660" sldId="697"/>
            <ac:graphicFrameMk id="9" creationId="{AEA8D52B-EC51-CC75-91AF-5B76A0576987}"/>
          </ac:graphicFrameMkLst>
        </pc:graphicFrameChg>
        <pc:graphicFrameChg chg="del">
          <ac:chgData name="Lin, Sibo" userId="ea051dd4-adc5-46dc-bb80-8ca847fcc2d8" providerId="ADAL" clId="{7EA2BB86-E007-45EB-866C-9A595ED0A894}" dt="2022-11-23T04:45:06.542" v="1481" actId="478"/>
          <ac:graphicFrameMkLst>
            <pc:docMk/>
            <pc:sldMk cId="2876255660" sldId="697"/>
            <ac:graphicFrameMk id="14" creationId="{00000000-0000-0000-0000-000000000000}"/>
          </ac:graphicFrameMkLst>
        </pc:graphicFrameChg>
        <pc:graphicFrameChg chg="del">
          <ac:chgData name="Lin, Sibo" userId="ea051dd4-adc5-46dc-bb80-8ca847fcc2d8" providerId="ADAL" clId="{7EA2BB86-E007-45EB-866C-9A595ED0A894}" dt="2022-11-23T04:45:06.542" v="1481" actId="478"/>
          <ac:graphicFrameMkLst>
            <pc:docMk/>
            <pc:sldMk cId="2876255660" sldId="697"/>
            <ac:graphicFrameMk id="31" creationId="{00000000-0000-0000-0000-000000000000}"/>
          </ac:graphicFrameMkLst>
        </pc:graphicFrameChg>
        <pc:graphicFrameChg chg="del">
          <ac:chgData name="Lin, Sibo" userId="ea051dd4-adc5-46dc-bb80-8ca847fcc2d8" providerId="ADAL" clId="{7EA2BB86-E007-45EB-866C-9A595ED0A894}" dt="2022-11-23T04:45:06.542" v="1481" actId="478"/>
          <ac:graphicFrameMkLst>
            <pc:docMk/>
            <pc:sldMk cId="2876255660" sldId="697"/>
            <ac:graphicFrameMk id="32" creationId="{00000000-0000-0000-0000-000000000000}"/>
          </ac:graphicFrameMkLst>
        </pc:graphicFrameChg>
        <pc:graphicFrameChg chg="del">
          <ac:chgData name="Lin, Sibo" userId="ea051dd4-adc5-46dc-bb80-8ca847fcc2d8" providerId="ADAL" clId="{7EA2BB86-E007-45EB-866C-9A595ED0A894}" dt="2022-11-23T04:45:06.542" v="1481" actId="478"/>
          <ac:graphicFrameMkLst>
            <pc:docMk/>
            <pc:sldMk cId="2876255660" sldId="697"/>
            <ac:graphicFrameMk id="33" creationId="{00000000-0000-0000-0000-000000000000}"/>
          </ac:graphicFrameMkLst>
        </pc:graphicFrameChg>
        <pc:graphicFrameChg chg="del">
          <ac:chgData name="Lin, Sibo" userId="ea051dd4-adc5-46dc-bb80-8ca847fcc2d8" providerId="ADAL" clId="{7EA2BB86-E007-45EB-866C-9A595ED0A894}" dt="2022-11-23T04:45:06.542" v="1481" actId="478"/>
          <ac:graphicFrameMkLst>
            <pc:docMk/>
            <pc:sldMk cId="2876255660" sldId="697"/>
            <ac:graphicFrameMk id="34" creationId="{00000000-0000-0000-0000-000000000000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4:45:01.706" v="1478"/>
          <ac:graphicFrameMkLst>
            <pc:docMk/>
            <pc:sldMk cId="2876255660" sldId="697"/>
            <ac:graphicFrameMk id="56" creationId="{B460C016-A935-E725-2A8B-C603FE640009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4:45:01.706" v="1478"/>
          <ac:graphicFrameMkLst>
            <pc:docMk/>
            <pc:sldMk cId="2876255660" sldId="697"/>
            <ac:graphicFrameMk id="57" creationId="{4BE830C4-9EE7-7C05-C977-03A70AFDDCAA}"/>
          </ac:graphicFrameMkLst>
        </pc:graphicFrameChg>
        <pc:graphicFrameChg chg="add mod">
          <ac:chgData name="Lin, Sibo" userId="ea051dd4-adc5-46dc-bb80-8ca847fcc2d8" providerId="ADAL" clId="{7EA2BB86-E007-45EB-866C-9A595ED0A894}" dt="2022-11-23T04:45:13.517" v="1483" actId="1076"/>
          <ac:graphicFrameMkLst>
            <pc:docMk/>
            <pc:sldMk cId="2876255660" sldId="697"/>
            <ac:graphicFrameMk id="70" creationId="{C27746CD-49A7-3FFA-CA5F-E4CCC3535879}"/>
          </ac:graphicFrameMkLst>
        </pc:graphicFrameChg>
        <pc:graphicFrameChg chg="add mod">
          <ac:chgData name="Lin, Sibo" userId="ea051dd4-adc5-46dc-bb80-8ca847fcc2d8" providerId="ADAL" clId="{7EA2BB86-E007-45EB-866C-9A595ED0A894}" dt="2022-11-23T04:45:13.517" v="1483" actId="1076"/>
          <ac:graphicFrameMkLst>
            <pc:docMk/>
            <pc:sldMk cId="2876255660" sldId="697"/>
            <ac:graphicFrameMk id="71" creationId="{27062B73-4587-5CDB-326A-D62B1BA4C58E}"/>
          </ac:graphicFrameMkLst>
        </pc:graphicFrameChg>
        <pc:picChg chg="del">
          <ac:chgData name="Lin, Sibo" userId="ea051dd4-adc5-46dc-bb80-8ca847fcc2d8" providerId="ADAL" clId="{7EA2BB86-E007-45EB-866C-9A595ED0A894}" dt="2022-11-23T04:45:06.542" v="1481" actId="478"/>
          <ac:picMkLst>
            <pc:docMk/>
            <pc:sldMk cId="2876255660" sldId="697"/>
            <ac:picMk id="20" creationId="{00000000-0000-0000-0000-000000000000}"/>
          </ac:picMkLst>
        </pc:picChg>
        <pc:picChg chg="add del mod">
          <ac:chgData name="Lin, Sibo" userId="ea051dd4-adc5-46dc-bb80-8ca847fcc2d8" providerId="ADAL" clId="{7EA2BB86-E007-45EB-866C-9A595ED0A894}" dt="2022-11-23T04:45:01.706" v="1478"/>
          <ac:picMkLst>
            <pc:docMk/>
            <pc:sldMk cId="2876255660" sldId="697"/>
            <ac:picMk id="58" creationId="{BF376D27-6203-C46C-B0CC-D373A2A5ECF7}"/>
          </ac:picMkLst>
        </pc:picChg>
        <pc:picChg chg="add del mod">
          <ac:chgData name="Lin, Sibo" userId="ea051dd4-adc5-46dc-bb80-8ca847fcc2d8" providerId="ADAL" clId="{7EA2BB86-E007-45EB-866C-9A595ED0A894}" dt="2022-11-23T04:45:01.706" v="1478"/>
          <ac:picMkLst>
            <pc:docMk/>
            <pc:sldMk cId="2876255660" sldId="697"/>
            <ac:picMk id="67" creationId="{78AF98C2-DB7E-2F71-06FE-1C38735A999A}"/>
          </ac:picMkLst>
        </pc:picChg>
        <pc:picChg chg="add mod">
          <ac:chgData name="Lin, Sibo" userId="ea051dd4-adc5-46dc-bb80-8ca847fcc2d8" providerId="ADAL" clId="{7EA2BB86-E007-45EB-866C-9A595ED0A894}" dt="2022-11-23T04:45:13.517" v="1483" actId="1076"/>
          <ac:picMkLst>
            <pc:docMk/>
            <pc:sldMk cId="2876255660" sldId="697"/>
            <ac:picMk id="72" creationId="{8446CBE2-0F29-D714-ECFA-1F8F20DFC0C2}"/>
          </ac:picMkLst>
        </pc:picChg>
        <pc:picChg chg="add mod">
          <ac:chgData name="Lin, Sibo" userId="ea051dd4-adc5-46dc-bb80-8ca847fcc2d8" providerId="ADAL" clId="{7EA2BB86-E007-45EB-866C-9A595ED0A894}" dt="2022-11-23T04:46:01.620" v="1504" actId="1076"/>
          <ac:picMkLst>
            <pc:docMk/>
            <pc:sldMk cId="2876255660" sldId="697"/>
            <ac:picMk id="81" creationId="{6643711C-39A9-0165-1EBD-1BE532008916}"/>
          </ac:picMkLst>
        </pc:picChg>
        <pc:cxnChg chg="del">
          <ac:chgData name="Lin, Sibo" userId="ea051dd4-adc5-46dc-bb80-8ca847fcc2d8" providerId="ADAL" clId="{7EA2BB86-E007-45EB-866C-9A595ED0A894}" dt="2022-11-23T04:45:06.542" v="1481" actId="478"/>
          <ac:cxnSpMkLst>
            <pc:docMk/>
            <pc:sldMk cId="2876255660" sldId="697"/>
            <ac:cxnSpMk id="25" creationId="{00000000-0000-0000-0000-000000000000}"/>
          </ac:cxnSpMkLst>
        </pc:cxnChg>
        <pc:cxnChg chg="del">
          <ac:chgData name="Lin, Sibo" userId="ea051dd4-adc5-46dc-bb80-8ca847fcc2d8" providerId="ADAL" clId="{7EA2BB86-E007-45EB-866C-9A595ED0A894}" dt="2022-11-23T04:45:06.542" v="1481" actId="478"/>
          <ac:cxnSpMkLst>
            <pc:docMk/>
            <pc:sldMk cId="2876255660" sldId="697"/>
            <ac:cxnSpMk id="26" creationId="{00000000-0000-0000-0000-000000000000}"/>
          </ac:cxnSpMkLst>
        </pc:cxnChg>
        <pc:cxnChg chg="del">
          <ac:chgData name="Lin, Sibo" userId="ea051dd4-adc5-46dc-bb80-8ca847fcc2d8" providerId="ADAL" clId="{7EA2BB86-E007-45EB-866C-9A595ED0A894}" dt="2022-11-23T04:45:06.542" v="1481" actId="478"/>
          <ac:cxnSpMkLst>
            <pc:docMk/>
            <pc:sldMk cId="2876255660" sldId="697"/>
            <ac:cxnSpMk id="28" creationId="{00000000-0000-0000-0000-000000000000}"/>
          </ac:cxnSpMkLst>
        </pc:cxnChg>
        <pc:cxnChg chg="del">
          <ac:chgData name="Lin, Sibo" userId="ea051dd4-adc5-46dc-bb80-8ca847fcc2d8" providerId="ADAL" clId="{7EA2BB86-E007-45EB-866C-9A595ED0A894}" dt="2022-11-23T04:45:06.542" v="1481" actId="478"/>
          <ac:cxnSpMkLst>
            <pc:docMk/>
            <pc:sldMk cId="2876255660" sldId="697"/>
            <ac:cxnSpMk id="29" creationId="{00000000-0000-0000-0000-000000000000}"/>
          </ac:cxnSpMkLst>
        </pc:cxnChg>
        <pc:cxnChg chg="del">
          <ac:chgData name="Lin, Sibo" userId="ea051dd4-adc5-46dc-bb80-8ca847fcc2d8" providerId="ADAL" clId="{7EA2BB86-E007-45EB-866C-9A595ED0A894}" dt="2022-11-23T04:45:06.542" v="1481" actId="478"/>
          <ac:cxnSpMkLst>
            <pc:docMk/>
            <pc:sldMk cId="2876255660" sldId="697"/>
            <ac:cxnSpMk id="35" creationId="{00000000-0000-0000-0000-000000000000}"/>
          </ac:cxnSpMkLst>
        </pc:cxnChg>
        <pc:cxnChg chg="add del mod">
          <ac:chgData name="Lin, Sibo" userId="ea051dd4-adc5-46dc-bb80-8ca847fcc2d8" providerId="ADAL" clId="{7EA2BB86-E007-45EB-866C-9A595ED0A894}" dt="2022-11-23T04:44:01.954" v="1464"/>
          <ac:cxnSpMkLst>
            <pc:docMk/>
            <pc:sldMk cId="2876255660" sldId="697"/>
            <ac:cxnSpMk id="48" creationId="{07D564F4-CFA6-10D3-2464-59B24BD67788}"/>
          </ac:cxnSpMkLst>
        </pc:cxnChg>
        <pc:cxnChg chg="add del mod">
          <ac:chgData name="Lin, Sibo" userId="ea051dd4-adc5-46dc-bb80-8ca847fcc2d8" providerId="ADAL" clId="{7EA2BB86-E007-45EB-866C-9A595ED0A894}" dt="2022-11-23T04:44:01.954" v="1464"/>
          <ac:cxnSpMkLst>
            <pc:docMk/>
            <pc:sldMk cId="2876255660" sldId="697"/>
            <ac:cxnSpMk id="49" creationId="{54F04857-599A-EB57-DCE5-51089771AAEE}"/>
          </ac:cxnSpMkLst>
        </pc:cxnChg>
        <pc:cxnChg chg="add del mod">
          <ac:chgData name="Lin, Sibo" userId="ea051dd4-adc5-46dc-bb80-8ca847fcc2d8" providerId="ADAL" clId="{7EA2BB86-E007-45EB-866C-9A595ED0A894}" dt="2022-11-23T04:45:01.706" v="1478"/>
          <ac:cxnSpMkLst>
            <pc:docMk/>
            <pc:sldMk cId="2876255660" sldId="697"/>
            <ac:cxnSpMk id="54" creationId="{F39D4109-02D6-0AC0-C860-A9DEA3E14DD1}"/>
          </ac:cxnSpMkLst>
        </pc:cxnChg>
        <pc:cxnChg chg="add del mod">
          <ac:chgData name="Lin, Sibo" userId="ea051dd4-adc5-46dc-bb80-8ca847fcc2d8" providerId="ADAL" clId="{7EA2BB86-E007-45EB-866C-9A595ED0A894}" dt="2022-11-23T04:45:01.706" v="1478"/>
          <ac:cxnSpMkLst>
            <pc:docMk/>
            <pc:sldMk cId="2876255660" sldId="697"/>
            <ac:cxnSpMk id="63" creationId="{0C4D38A6-F2B5-086B-7566-2DCA392159C9}"/>
          </ac:cxnSpMkLst>
        </pc:cxnChg>
        <pc:cxnChg chg="add del mod">
          <ac:chgData name="Lin, Sibo" userId="ea051dd4-adc5-46dc-bb80-8ca847fcc2d8" providerId="ADAL" clId="{7EA2BB86-E007-45EB-866C-9A595ED0A894}" dt="2022-11-23T04:45:01.706" v="1478"/>
          <ac:cxnSpMkLst>
            <pc:docMk/>
            <pc:sldMk cId="2876255660" sldId="697"/>
            <ac:cxnSpMk id="64" creationId="{661C44BD-8A4E-D5D7-34A4-8B1AD4F3C90F}"/>
          </ac:cxnSpMkLst>
        </pc:cxnChg>
        <pc:cxnChg chg="add del mod">
          <ac:chgData name="Lin, Sibo" userId="ea051dd4-adc5-46dc-bb80-8ca847fcc2d8" providerId="ADAL" clId="{7EA2BB86-E007-45EB-866C-9A595ED0A894}" dt="2022-11-23T04:46:04.432" v="1506" actId="478"/>
          <ac:cxnSpMkLst>
            <pc:docMk/>
            <pc:sldMk cId="2876255660" sldId="697"/>
            <ac:cxnSpMk id="68" creationId="{9FD42465-E269-009E-B9F5-0338F021DA8A}"/>
          </ac:cxnSpMkLst>
        </pc:cxnChg>
        <pc:cxnChg chg="add mod">
          <ac:chgData name="Lin, Sibo" userId="ea051dd4-adc5-46dc-bb80-8ca847fcc2d8" providerId="ADAL" clId="{7EA2BB86-E007-45EB-866C-9A595ED0A894}" dt="2022-11-23T04:45:13.517" v="1483" actId="1076"/>
          <ac:cxnSpMkLst>
            <pc:docMk/>
            <pc:sldMk cId="2876255660" sldId="697"/>
            <ac:cxnSpMk id="77" creationId="{6D553CE3-69E7-285B-2A90-E1B6F5EC600B}"/>
          </ac:cxnSpMkLst>
        </pc:cxnChg>
        <pc:cxnChg chg="add mod">
          <ac:chgData name="Lin, Sibo" userId="ea051dd4-adc5-46dc-bb80-8ca847fcc2d8" providerId="ADAL" clId="{7EA2BB86-E007-45EB-866C-9A595ED0A894}" dt="2022-11-23T04:45:13.517" v="1483" actId="1076"/>
          <ac:cxnSpMkLst>
            <pc:docMk/>
            <pc:sldMk cId="2876255660" sldId="697"/>
            <ac:cxnSpMk id="78" creationId="{38F1C84F-B301-67BA-F315-13CEF6233D41}"/>
          </ac:cxnSpMkLst>
        </pc:cxnChg>
      </pc:sldChg>
      <pc:sldChg chg="add del">
        <pc:chgData name="Lin, Sibo" userId="ea051dd4-adc5-46dc-bb80-8ca847fcc2d8" providerId="ADAL" clId="{7EA2BB86-E007-45EB-866C-9A595ED0A894}" dt="2022-11-23T06:49:36.525" v="2011" actId="2696"/>
        <pc:sldMkLst>
          <pc:docMk/>
          <pc:sldMk cId="2993849412" sldId="698"/>
        </pc:sldMkLst>
      </pc:sldChg>
      <pc:sldChg chg="add">
        <pc:chgData name="Lin, Sibo" userId="ea051dd4-adc5-46dc-bb80-8ca847fcc2d8" providerId="ADAL" clId="{7EA2BB86-E007-45EB-866C-9A595ED0A894}" dt="2022-11-23T07:28:56.929" v="2025"/>
        <pc:sldMkLst>
          <pc:docMk/>
          <pc:sldMk cId="1234602262" sldId="699"/>
        </pc:sldMkLst>
      </pc:sldChg>
      <pc:sldChg chg="addSp delSp modSp add del mod">
        <pc:chgData name="Lin, Sibo" userId="ea051dd4-adc5-46dc-bb80-8ca847fcc2d8" providerId="ADAL" clId="{7EA2BB86-E007-45EB-866C-9A595ED0A894}" dt="2022-11-23T07:28:52.389" v="2024" actId="2696"/>
        <pc:sldMkLst>
          <pc:docMk/>
          <pc:sldMk cId="2103052485" sldId="699"/>
        </pc:sldMkLst>
        <pc:spChg chg="mod">
          <ac:chgData name="Lin, Sibo" userId="ea051dd4-adc5-46dc-bb80-8ca847fcc2d8" providerId="ADAL" clId="{7EA2BB86-E007-45EB-866C-9A595ED0A894}" dt="2022-11-23T05:59:45.500" v="1650" actId="14100"/>
          <ac:spMkLst>
            <pc:docMk/>
            <pc:sldMk cId="2103052485" sldId="699"/>
            <ac:spMk id="12" creationId="{A502DCA6-B81F-44F5-9F01-51C32F7F21F4}"/>
          </ac:spMkLst>
        </pc:spChg>
        <pc:spChg chg="mod">
          <ac:chgData name="Lin, Sibo" userId="ea051dd4-adc5-46dc-bb80-8ca847fcc2d8" providerId="ADAL" clId="{7EA2BB86-E007-45EB-866C-9A595ED0A894}" dt="2022-11-23T06:01:04.049" v="1668" actId="20577"/>
          <ac:spMkLst>
            <pc:docMk/>
            <pc:sldMk cId="2103052485" sldId="699"/>
            <ac:spMk id="69" creationId="{3BFBAB12-C853-4855-8352-45376A986EF6}"/>
          </ac:spMkLst>
        </pc:spChg>
        <pc:graphicFrameChg chg="add mod">
          <ac:chgData name="Lin, Sibo" userId="ea051dd4-adc5-46dc-bb80-8ca847fcc2d8" providerId="ADAL" clId="{7EA2BB86-E007-45EB-866C-9A595ED0A894}" dt="2022-11-23T05:59:11.091" v="1575"/>
          <ac:graphicFrameMkLst>
            <pc:docMk/>
            <pc:sldMk cId="2103052485" sldId="699"/>
            <ac:graphicFrameMk id="2" creationId="{1E4F99D7-5BE5-59B5-6924-823FD11B1A44}"/>
          </ac:graphicFrameMkLst>
        </pc:graphicFrameChg>
        <pc:graphicFrameChg chg="add del mod">
          <ac:chgData name="Lin, Sibo" userId="ea051dd4-adc5-46dc-bb80-8ca847fcc2d8" providerId="ADAL" clId="{7EA2BB86-E007-45EB-866C-9A595ED0A894}" dt="2022-11-23T06:28:11.481" v="1676"/>
          <ac:graphicFrameMkLst>
            <pc:docMk/>
            <pc:sldMk cId="2103052485" sldId="699"/>
            <ac:graphicFrameMk id="4" creationId="{2AF6713B-0028-2912-49C4-5125973EE484}"/>
          </ac:graphicFrameMkLst>
        </pc:graphicFrameChg>
      </pc:sldChg>
      <pc:sldChg chg="addSp delSp modSp add mod modAnim">
        <pc:chgData name="Lin, Sibo" userId="ea051dd4-adc5-46dc-bb80-8ca847fcc2d8" providerId="ADAL" clId="{7EA2BB86-E007-45EB-866C-9A595ED0A894}" dt="2022-11-23T17:05:07.297" v="3583"/>
        <pc:sldMkLst>
          <pc:docMk/>
          <pc:sldMk cId="1096895874" sldId="700"/>
        </pc:sldMkLst>
        <pc:spChg chg="mod">
          <ac:chgData name="Lin, Sibo" userId="ea051dd4-adc5-46dc-bb80-8ca847fcc2d8" providerId="ADAL" clId="{7EA2BB86-E007-45EB-866C-9A595ED0A894}" dt="2022-11-23T17:02:54.354" v="3566" actId="165"/>
          <ac:spMkLst>
            <pc:docMk/>
            <pc:sldMk cId="1096895874" sldId="700"/>
            <ac:spMk id="9" creationId="{1FEEA812-C77F-4D78-8B40-5B3ECE29A745}"/>
          </ac:spMkLst>
        </pc:spChg>
        <pc:spChg chg="mod topLvl">
          <ac:chgData name="Lin, Sibo" userId="ea051dd4-adc5-46dc-bb80-8ca847fcc2d8" providerId="ADAL" clId="{7EA2BB86-E007-45EB-866C-9A595ED0A894}" dt="2022-11-23T17:03:30.001" v="3570" actId="164"/>
          <ac:spMkLst>
            <pc:docMk/>
            <pc:sldMk cId="1096895874" sldId="700"/>
            <ac:spMk id="10" creationId="{277344C7-F5DE-4BAF-B88C-AE7918BE6B6B}"/>
          </ac:spMkLst>
        </pc:spChg>
        <pc:spChg chg="mod topLvl">
          <ac:chgData name="Lin, Sibo" userId="ea051dd4-adc5-46dc-bb80-8ca847fcc2d8" providerId="ADAL" clId="{7EA2BB86-E007-45EB-866C-9A595ED0A894}" dt="2022-11-23T17:03:42.607" v="3574" actId="164"/>
          <ac:spMkLst>
            <pc:docMk/>
            <pc:sldMk cId="1096895874" sldId="700"/>
            <ac:spMk id="11" creationId="{65C9552A-1E9A-4E9A-93C0-F38B34026215}"/>
          </ac:spMkLst>
        </pc:spChg>
        <pc:spChg chg="mod">
          <ac:chgData name="Lin, Sibo" userId="ea051dd4-adc5-46dc-bb80-8ca847fcc2d8" providerId="ADAL" clId="{7EA2BB86-E007-45EB-866C-9A595ED0A894}" dt="2022-11-23T17:02:54.354" v="3566" actId="165"/>
          <ac:spMkLst>
            <pc:docMk/>
            <pc:sldMk cId="1096895874" sldId="700"/>
            <ac:spMk id="12" creationId="{F03F4AB6-2A17-476F-ADF9-2C5F3F189AD4}"/>
          </ac:spMkLst>
        </pc:spChg>
        <pc:spChg chg="mod topLvl">
          <ac:chgData name="Lin, Sibo" userId="ea051dd4-adc5-46dc-bb80-8ca847fcc2d8" providerId="ADAL" clId="{7EA2BB86-E007-45EB-866C-9A595ED0A894}" dt="2022-11-23T17:03:30.001" v="3570" actId="164"/>
          <ac:spMkLst>
            <pc:docMk/>
            <pc:sldMk cId="1096895874" sldId="700"/>
            <ac:spMk id="13" creationId="{F7E29877-2A0F-4DE2-B860-C9648349668A}"/>
          </ac:spMkLst>
        </pc:spChg>
        <pc:spChg chg="mod topLvl">
          <ac:chgData name="Lin, Sibo" userId="ea051dd4-adc5-46dc-bb80-8ca847fcc2d8" providerId="ADAL" clId="{7EA2BB86-E007-45EB-866C-9A595ED0A894}" dt="2022-11-23T17:03:42.607" v="3574" actId="164"/>
          <ac:spMkLst>
            <pc:docMk/>
            <pc:sldMk cId="1096895874" sldId="700"/>
            <ac:spMk id="14" creationId="{728B30DB-BE61-40B7-84D6-1346377713ED}"/>
          </ac:spMkLst>
        </pc:spChg>
        <pc:spChg chg="del">
          <ac:chgData name="Lin, Sibo" userId="ea051dd4-adc5-46dc-bb80-8ca847fcc2d8" providerId="ADAL" clId="{7EA2BB86-E007-45EB-866C-9A595ED0A894}" dt="2022-11-23T17:02:22.421" v="3565" actId="478"/>
          <ac:spMkLst>
            <pc:docMk/>
            <pc:sldMk cId="1096895874" sldId="700"/>
            <ac:spMk id="17" creationId="{6F91CF3E-33A5-4378-849E-FF1B8B4F92A7}"/>
          </ac:spMkLst>
        </pc:spChg>
        <pc:spChg chg="mod">
          <ac:chgData name="Lin, Sibo" userId="ea051dd4-adc5-46dc-bb80-8ca847fcc2d8" providerId="ADAL" clId="{7EA2BB86-E007-45EB-866C-9A595ED0A894}" dt="2022-11-23T17:05:02.145" v="3582" actId="1076"/>
          <ac:spMkLst>
            <pc:docMk/>
            <pc:sldMk cId="1096895874" sldId="700"/>
            <ac:spMk id="21" creationId="{862E3E70-D0BC-E7CE-CD83-988EE774610D}"/>
          </ac:spMkLst>
        </pc:spChg>
        <pc:spChg chg="mod">
          <ac:chgData name="Lin, Sibo" userId="ea051dd4-adc5-46dc-bb80-8ca847fcc2d8" providerId="ADAL" clId="{7EA2BB86-E007-45EB-866C-9A595ED0A894}" dt="2022-11-23T17:04:43.269" v="3580" actId="1076"/>
          <ac:spMkLst>
            <pc:docMk/>
            <pc:sldMk cId="1096895874" sldId="700"/>
            <ac:spMk id="24" creationId="{AAAA1237-30B1-6A47-CCD5-A93AC6C98736}"/>
          </ac:spMkLst>
        </pc:spChg>
        <pc:spChg chg="add mod">
          <ac:chgData name="Lin, Sibo" userId="ea051dd4-adc5-46dc-bb80-8ca847fcc2d8" providerId="ADAL" clId="{7EA2BB86-E007-45EB-866C-9A595ED0A894}" dt="2022-11-23T17:04:27.188" v="3579" actId="207"/>
          <ac:spMkLst>
            <pc:docMk/>
            <pc:sldMk cId="1096895874" sldId="700"/>
            <ac:spMk id="25" creationId="{8054254F-6F47-9C6B-B2A7-0282B061DCDD}"/>
          </ac:spMkLst>
        </pc:spChg>
        <pc:spChg chg="mod">
          <ac:chgData name="Lin, Sibo" userId="ea051dd4-adc5-46dc-bb80-8ca847fcc2d8" providerId="ADAL" clId="{7EA2BB86-E007-45EB-866C-9A595ED0A894}" dt="2022-11-23T07:29:49.095" v="2044" actId="20577"/>
          <ac:spMkLst>
            <pc:docMk/>
            <pc:sldMk cId="1096895874" sldId="700"/>
            <ac:spMk id="26" creationId="{E5BC5B2E-49EF-3575-BBD1-0BDBA35322E4}"/>
          </ac:spMkLst>
        </pc:spChg>
        <pc:spChg chg="add mod">
          <ac:chgData name="Lin, Sibo" userId="ea051dd4-adc5-46dc-bb80-8ca847fcc2d8" providerId="ADAL" clId="{7EA2BB86-E007-45EB-866C-9A595ED0A894}" dt="2022-11-23T17:05:07.297" v="3583"/>
          <ac:spMkLst>
            <pc:docMk/>
            <pc:sldMk cId="1096895874" sldId="700"/>
            <ac:spMk id="27" creationId="{75CE64CD-FF93-AD4B-293D-1DE93FF70E1B}"/>
          </ac:spMkLst>
        </pc:spChg>
        <pc:grpChg chg="add mod">
          <ac:chgData name="Lin, Sibo" userId="ea051dd4-adc5-46dc-bb80-8ca847fcc2d8" providerId="ADAL" clId="{7EA2BB86-E007-45EB-866C-9A595ED0A894}" dt="2022-11-23T17:03:30.001" v="3570" actId="164"/>
          <ac:grpSpMkLst>
            <pc:docMk/>
            <pc:sldMk cId="1096895874" sldId="700"/>
            <ac:grpSpMk id="3" creationId="{BB4C0B99-6097-6575-05D1-CC6A740E2966}"/>
          </ac:grpSpMkLst>
        </pc:grpChg>
        <pc:grpChg chg="add mod">
          <ac:chgData name="Lin, Sibo" userId="ea051dd4-adc5-46dc-bb80-8ca847fcc2d8" providerId="ADAL" clId="{7EA2BB86-E007-45EB-866C-9A595ED0A894}" dt="2022-11-23T17:03:42.607" v="3574" actId="164"/>
          <ac:grpSpMkLst>
            <pc:docMk/>
            <pc:sldMk cId="1096895874" sldId="700"/>
            <ac:grpSpMk id="16" creationId="{2D7F456F-D27F-D00C-DACB-D19E7655C114}"/>
          </ac:grpSpMkLst>
        </pc:grpChg>
        <pc:grpChg chg="mod topLvl">
          <ac:chgData name="Lin, Sibo" userId="ea051dd4-adc5-46dc-bb80-8ca847fcc2d8" providerId="ADAL" clId="{7EA2BB86-E007-45EB-866C-9A595ED0A894}" dt="2022-11-23T17:02:54.354" v="3566" actId="165"/>
          <ac:grpSpMkLst>
            <pc:docMk/>
            <pc:sldMk cId="1096895874" sldId="700"/>
            <ac:grpSpMk id="18" creationId="{B86E4811-CF37-A72B-A4F6-B08B51846329}"/>
          </ac:grpSpMkLst>
        </pc:grpChg>
        <pc:grpChg chg="del">
          <ac:chgData name="Lin, Sibo" userId="ea051dd4-adc5-46dc-bb80-8ca847fcc2d8" providerId="ADAL" clId="{7EA2BB86-E007-45EB-866C-9A595ED0A894}" dt="2022-11-23T17:02:54.354" v="3566" actId="165"/>
          <ac:grpSpMkLst>
            <pc:docMk/>
            <pc:sldMk cId="1096895874" sldId="700"/>
            <ac:grpSpMk id="19" creationId="{F07885E8-F25A-2308-5C0D-644FAB0C3986}"/>
          </ac:grpSpMkLst>
        </pc:grpChg>
        <pc:graphicFrameChg chg="mod topLvl">
          <ac:chgData name="Lin, Sibo" userId="ea051dd4-adc5-46dc-bb80-8ca847fcc2d8" providerId="ADAL" clId="{7EA2BB86-E007-45EB-866C-9A595ED0A894}" dt="2022-11-23T17:02:54.354" v="3566" actId="165"/>
          <ac:graphicFrameMkLst>
            <pc:docMk/>
            <pc:sldMk cId="1096895874" sldId="700"/>
            <ac:graphicFrameMk id="15" creationId="{A1166D83-3FA7-4D2C-835B-3D29DEE28BA8}"/>
          </ac:graphicFrameMkLst>
        </pc:graphicFrameChg>
      </pc:sldChg>
      <pc:sldChg chg="addSp delSp modSp add del mod">
        <pc:chgData name="Lin, Sibo" userId="ea051dd4-adc5-46dc-bb80-8ca847fcc2d8" providerId="ADAL" clId="{7EA2BB86-E007-45EB-866C-9A595ED0A894}" dt="2022-11-23T07:28:52.389" v="2024" actId="2696"/>
        <pc:sldMkLst>
          <pc:docMk/>
          <pc:sldMk cId="3323570764" sldId="700"/>
        </pc:sldMkLst>
        <pc:spChg chg="del mod">
          <ac:chgData name="Lin, Sibo" userId="ea051dd4-adc5-46dc-bb80-8ca847fcc2d8" providerId="ADAL" clId="{7EA2BB86-E007-45EB-866C-9A595ED0A894}" dt="2022-11-23T06:28:43.337" v="1681" actId="478"/>
          <ac:spMkLst>
            <pc:docMk/>
            <pc:sldMk cId="3323570764" sldId="700"/>
            <ac:spMk id="3" creationId="{BC923307-7310-4E74-8C84-3C6AB4BB31D8}"/>
          </ac:spMkLst>
        </pc:spChg>
        <pc:spChg chg="add del mod">
          <ac:chgData name="Lin, Sibo" userId="ea051dd4-adc5-46dc-bb80-8ca847fcc2d8" providerId="ADAL" clId="{7EA2BB86-E007-45EB-866C-9A595ED0A894}" dt="2022-11-23T06:28:46.015" v="1683" actId="478"/>
          <ac:spMkLst>
            <pc:docMk/>
            <pc:sldMk cId="3323570764" sldId="700"/>
            <ac:spMk id="25" creationId="{1226A4CB-520C-5285-5351-DB826F55F48D}"/>
          </ac:spMkLst>
        </pc:spChg>
        <pc:spChg chg="add mod">
          <ac:chgData name="Lin, Sibo" userId="ea051dd4-adc5-46dc-bb80-8ca847fcc2d8" providerId="ADAL" clId="{7EA2BB86-E007-45EB-866C-9A595ED0A894}" dt="2022-11-23T06:28:43.680" v="1682"/>
          <ac:spMkLst>
            <pc:docMk/>
            <pc:sldMk cId="3323570764" sldId="700"/>
            <ac:spMk id="26" creationId="{E5BC5B2E-49EF-3575-BBD1-0BDBA35322E4}"/>
          </ac:spMkLst>
        </pc:spChg>
        <pc:graphicFrameChg chg="add mod">
          <ac:chgData name="Lin, Sibo" userId="ea051dd4-adc5-46dc-bb80-8ca847fcc2d8" providerId="ADAL" clId="{7EA2BB86-E007-45EB-866C-9A595ED0A894}" dt="2022-11-23T06:28:26.319" v="1679"/>
          <ac:graphicFrameMkLst>
            <pc:docMk/>
            <pc:sldMk cId="3323570764" sldId="700"/>
            <ac:graphicFrameMk id="2" creationId="{66746F9C-CF0C-B170-EF5C-51148F38AD9B}"/>
          </ac:graphicFrameMkLst>
        </pc:graphicFrameChg>
      </pc:sldChg>
      <pc:sldChg chg="addSp delSp modSp new mod modAnim">
        <pc:chgData name="Lin, Sibo" userId="ea051dd4-adc5-46dc-bb80-8ca847fcc2d8" providerId="ADAL" clId="{7EA2BB86-E007-45EB-866C-9A595ED0A894}" dt="2022-11-23T16:59:04.761" v="3563" actId="2711"/>
        <pc:sldMkLst>
          <pc:docMk/>
          <pc:sldMk cId="938336751" sldId="701"/>
        </pc:sldMkLst>
        <pc:spChg chg="del">
          <ac:chgData name="Lin, Sibo" userId="ea051dd4-adc5-46dc-bb80-8ca847fcc2d8" providerId="ADAL" clId="{7EA2BB86-E007-45EB-866C-9A595ED0A894}" dt="2022-11-23T07:41:26.672" v="2667" actId="478"/>
          <ac:spMkLst>
            <pc:docMk/>
            <pc:sldMk cId="938336751" sldId="701"/>
            <ac:spMk id="2" creationId="{0F09FCC5-598C-5F97-B733-33F25CDA41B3}"/>
          </ac:spMkLst>
        </pc:spChg>
        <pc:spChg chg="mod">
          <ac:chgData name="Lin, Sibo" userId="ea051dd4-adc5-46dc-bb80-8ca847fcc2d8" providerId="ADAL" clId="{7EA2BB86-E007-45EB-866C-9A595ED0A894}" dt="2022-11-23T07:44:45.346" v="2890" actId="20577"/>
          <ac:spMkLst>
            <pc:docMk/>
            <pc:sldMk cId="938336751" sldId="701"/>
            <ac:spMk id="3" creationId="{00A3505D-2BBA-1516-42E2-AF812898B64A}"/>
          </ac:spMkLst>
        </pc:spChg>
        <pc:spChg chg="mod topLvl">
          <ac:chgData name="Lin, Sibo" userId="ea051dd4-adc5-46dc-bb80-8ca847fcc2d8" providerId="ADAL" clId="{7EA2BB86-E007-45EB-866C-9A595ED0A894}" dt="2022-11-23T16:58:44.197" v="3559" actId="1076"/>
          <ac:spMkLst>
            <pc:docMk/>
            <pc:sldMk cId="938336751" sldId="701"/>
            <ac:spMk id="6" creationId="{20A61E47-44A2-F67D-2260-796E5612D3A4}"/>
          </ac:spMkLst>
        </pc:spChg>
        <pc:spChg chg="del mod topLvl">
          <ac:chgData name="Lin, Sibo" userId="ea051dd4-adc5-46dc-bb80-8ca847fcc2d8" providerId="ADAL" clId="{7EA2BB86-E007-45EB-866C-9A595ED0A894}" dt="2022-11-23T07:41:31.337" v="2669" actId="478"/>
          <ac:spMkLst>
            <pc:docMk/>
            <pc:sldMk cId="938336751" sldId="701"/>
            <ac:spMk id="9" creationId="{750D936F-53F7-268A-A451-0EBDCC6DFA81}"/>
          </ac:spMkLst>
        </pc:spChg>
        <pc:spChg chg="mod topLvl">
          <ac:chgData name="Lin, Sibo" userId="ea051dd4-adc5-46dc-bb80-8ca847fcc2d8" providerId="ADAL" clId="{7EA2BB86-E007-45EB-866C-9A595ED0A894}" dt="2022-11-23T16:59:04.761" v="3563" actId="2711"/>
          <ac:spMkLst>
            <pc:docMk/>
            <pc:sldMk cId="938336751" sldId="701"/>
            <ac:spMk id="10" creationId="{FE9279D7-31E4-2D7D-021D-CA13EEC7835D}"/>
          </ac:spMkLst>
        </pc:spChg>
        <pc:spChg chg="del mod topLvl">
          <ac:chgData name="Lin, Sibo" userId="ea051dd4-adc5-46dc-bb80-8ca847fcc2d8" providerId="ADAL" clId="{7EA2BB86-E007-45EB-866C-9A595ED0A894}" dt="2022-11-23T16:58:38.471" v="3558" actId="21"/>
          <ac:spMkLst>
            <pc:docMk/>
            <pc:sldMk cId="938336751" sldId="701"/>
            <ac:spMk id="12" creationId="{5B958ECE-C125-863E-742A-D0F0DE80E778}"/>
          </ac:spMkLst>
        </pc:spChg>
        <pc:spChg chg="mod">
          <ac:chgData name="Lin, Sibo" userId="ea051dd4-adc5-46dc-bb80-8ca847fcc2d8" providerId="ADAL" clId="{7EA2BB86-E007-45EB-866C-9A595ED0A894}" dt="2022-11-23T07:42:35.290" v="2705"/>
          <ac:spMkLst>
            <pc:docMk/>
            <pc:sldMk cId="938336751" sldId="701"/>
            <ac:spMk id="16" creationId="{949DB18C-6ECF-2E5D-B2FE-5B1D804DA74B}"/>
          </ac:spMkLst>
        </pc:spChg>
        <pc:spChg chg="mod">
          <ac:chgData name="Lin, Sibo" userId="ea051dd4-adc5-46dc-bb80-8ca847fcc2d8" providerId="ADAL" clId="{7EA2BB86-E007-45EB-866C-9A595ED0A894}" dt="2022-11-23T07:42:35.290" v="2705"/>
          <ac:spMkLst>
            <pc:docMk/>
            <pc:sldMk cId="938336751" sldId="701"/>
            <ac:spMk id="17" creationId="{548F7EFE-D98D-485D-CDD5-190257210AD8}"/>
          </ac:spMkLst>
        </pc:spChg>
        <pc:spChg chg="mod">
          <ac:chgData name="Lin, Sibo" userId="ea051dd4-adc5-46dc-bb80-8ca847fcc2d8" providerId="ADAL" clId="{7EA2BB86-E007-45EB-866C-9A595ED0A894}" dt="2022-11-23T07:42:35.290" v="2705"/>
          <ac:spMkLst>
            <pc:docMk/>
            <pc:sldMk cId="938336751" sldId="701"/>
            <ac:spMk id="18" creationId="{F0D5D2E5-677C-3A3C-3DFE-09AED81B5BF0}"/>
          </ac:spMkLst>
        </pc:spChg>
        <pc:spChg chg="mod">
          <ac:chgData name="Lin, Sibo" userId="ea051dd4-adc5-46dc-bb80-8ca847fcc2d8" providerId="ADAL" clId="{7EA2BB86-E007-45EB-866C-9A595ED0A894}" dt="2022-11-23T07:42:35.290" v="2705"/>
          <ac:spMkLst>
            <pc:docMk/>
            <pc:sldMk cId="938336751" sldId="701"/>
            <ac:spMk id="19" creationId="{B835815D-B137-2036-F876-8A87A7A212FA}"/>
          </ac:spMkLst>
        </pc:spChg>
        <pc:spChg chg="mod">
          <ac:chgData name="Lin, Sibo" userId="ea051dd4-adc5-46dc-bb80-8ca847fcc2d8" providerId="ADAL" clId="{7EA2BB86-E007-45EB-866C-9A595ED0A894}" dt="2022-11-23T07:42:35.290" v="2705"/>
          <ac:spMkLst>
            <pc:docMk/>
            <pc:sldMk cId="938336751" sldId="701"/>
            <ac:spMk id="20" creationId="{0646366C-7916-5F38-E28A-29F133CB2A52}"/>
          </ac:spMkLst>
        </pc:spChg>
        <pc:spChg chg="mod">
          <ac:chgData name="Lin, Sibo" userId="ea051dd4-adc5-46dc-bb80-8ca847fcc2d8" providerId="ADAL" clId="{7EA2BB86-E007-45EB-866C-9A595ED0A894}" dt="2022-11-23T07:42:35.290" v="2705"/>
          <ac:spMkLst>
            <pc:docMk/>
            <pc:sldMk cId="938336751" sldId="701"/>
            <ac:spMk id="21" creationId="{FDB11442-6723-6C66-12B3-7C652DD085E8}"/>
          </ac:spMkLst>
        </pc:spChg>
        <pc:spChg chg="mod">
          <ac:chgData name="Lin, Sibo" userId="ea051dd4-adc5-46dc-bb80-8ca847fcc2d8" providerId="ADAL" clId="{7EA2BB86-E007-45EB-866C-9A595ED0A894}" dt="2022-11-23T07:42:35.290" v="2705"/>
          <ac:spMkLst>
            <pc:docMk/>
            <pc:sldMk cId="938336751" sldId="701"/>
            <ac:spMk id="22" creationId="{1D13F2AA-9CE9-82E8-C767-EA64F84D6A70}"/>
          </ac:spMkLst>
        </pc:spChg>
        <pc:spChg chg="add mod">
          <ac:chgData name="Lin, Sibo" userId="ea051dd4-adc5-46dc-bb80-8ca847fcc2d8" providerId="ADAL" clId="{7EA2BB86-E007-45EB-866C-9A595ED0A894}" dt="2022-11-23T07:52:27.777" v="3271" actId="164"/>
          <ac:spMkLst>
            <pc:docMk/>
            <pc:sldMk cId="938336751" sldId="701"/>
            <ac:spMk id="25" creationId="{249C4102-5DDE-D902-7831-891D00B64123}"/>
          </ac:spMkLst>
        </pc:spChg>
        <pc:spChg chg="add mod">
          <ac:chgData name="Lin, Sibo" userId="ea051dd4-adc5-46dc-bb80-8ca847fcc2d8" providerId="ADAL" clId="{7EA2BB86-E007-45EB-866C-9A595ED0A894}" dt="2022-11-23T16:58:44.197" v="3559" actId="1076"/>
          <ac:spMkLst>
            <pc:docMk/>
            <pc:sldMk cId="938336751" sldId="701"/>
            <ac:spMk id="28" creationId="{373752B4-5755-88E2-4EF3-EB0B78DCB6E3}"/>
          </ac:spMkLst>
        </pc:spChg>
        <pc:spChg chg="add mod">
          <ac:chgData name="Lin, Sibo" userId="ea051dd4-adc5-46dc-bb80-8ca847fcc2d8" providerId="ADAL" clId="{7EA2BB86-E007-45EB-866C-9A595ED0A894}" dt="2022-11-23T16:58:52.159" v="3562" actId="1076"/>
          <ac:spMkLst>
            <pc:docMk/>
            <pc:sldMk cId="938336751" sldId="701"/>
            <ac:spMk id="29" creationId="{CF5278EB-9C09-C107-4DA1-43DAA6C111B9}"/>
          </ac:spMkLst>
        </pc:spChg>
        <pc:spChg chg="mod">
          <ac:chgData name="Lin, Sibo" userId="ea051dd4-adc5-46dc-bb80-8ca847fcc2d8" providerId="ADAL" clId="{7EA2BB86-E007-45EB-866C-9A595ED0A894}" dt="2022-11-23T16:58:45.330" v="3560"/>
          <ac:spMkLst>
            <pc:docMk/>
            <pc:sldMk cId="938336751" sldId="701"/>
            <ac:spMk id="33" creationId="{0A2EAEBB-9C85-4EAC-6155-8ADA3BB04B50}"/>
          </ac:spMkLst>
        </pc:spChg>
        <pc:spChg chg="mod">
          <ac:chgData name="Lin, Sibo" userId="ea051dd4-adc5-46dc-bb80-8ca847fcc2d8" providerId="ADAL" clId="{7EA2BB86-E007-45EB-866C-9A595ED0A894}" dt="2022-11-23T16:58:45.330" v="3560"/>
          <ac:spMkLst>
            <pc:docMk/>
            <pc:sldMk cId="938336751" sldId="701"/>
            <ac:spMk id="34" creationId="{1C81302D-8DA9-D804-9B49-F36BC9665631}"/>
          </ac:spMkLst>
        </pc:spChg>
        <pc:spChg chg="mod">
          <ac:chgData name="Lin, Sibo" userId="ea051dd4-adc5-46dc-bb80-8ca847fcc2d8" providerId="ADAL" clId="{7EA2BB86-E007-45EB-866C-9A595ED0A894}" dt="2022-11-23T16:58:45.330" v="3560"/>
          <ac:spMkLst>
            <pc:docMk/>
            <pc:sldMk cId="938336751" sldId="701"/>
            <ac:spMk id="35" creationId="{9D07AD65-DF9E-0FF0-F8E1-8F9288AE0192}"/>
          </ac:spMkLst>
        </pc:spChg>
        <pc:spChg chg="mod">
          <ac:chgData name="Lin, Sibo" userId="ea051dd4-adc5-46dc-bb80-8ca847fcc2d8" providerId="ADAL" clId="{7EA2BB86-E007-45EB-866C-9A595ED0A894}" dt="2022-11-23T16:58:45.330" v="3560"/>
          <ac:spMkLst>
            <pc:docMk/>
            <pc:sldMk cId="938336751" sldId="701"/>
            <ac:spMk id="36" creationId="{E94E788A-5843-20EE-8160-33EDB3BF4867}"/>
          </ac:spMkLst>
        </pc:spChg>
        <pc:spChg chg="mod">
          <ac:chgData name="Lin, Sibo" userId="ea051dd4-adc5-46dc-bb80-8ca847fcc2d8" providerId="ADAL" clId="{7EA2BB86-E007-45EB-866C-9A595ED0A894}" dt="2022-11-23T16:58:45.330" v="3560"/>
          <ac:spMkLst>
            <pc:docMk/>
            <pc:sldMk cId="938336751" sldId="701"/>
            <ac:spMk id="37" creationId="{2B8A8969-7DE5-A193-6089-73541A95045D}"/>
          </ac:spMkLst>
        </pc:spChg>
        <pc:spChg chg="mod">
          <ac:chgData name="Lin, Sibo" userId="ea051dd4-adc5-46dc-bb80-8ca847fcc2d8" providerId="ADAL" clId="{7EA2BB86-E007-45EB-866C-9A595ED0A894}" dt="2022-11-23T16:58:45.330" v="3560"/>
          <ac:spMkLst>
            <pc:docMk/>
            <pc:sldMk cId="938336751" sldId="701"/>
            <ac:spMk id="38" creationId="{5FEEBC10-543E-44D2-3006-50B7CD40F454}"/>
          </ac:spMkLst>
        </pc:spChg>
        <pc:spChg chg="mod">
          <ac:chgData name="Lin, Sibo" userId="ea051dd4-adc5-46dc-bb80-8ca847fcc2d8" providerId="ADAL" clId="{7EA2BB86-E007-45EB-866C-9A595ED0A894}" dt="2022-11-23T16:58:45.330" v="3560"/>
          <ac:spMkLst>
            <pc:docMk/>
            <pc:sldMk cId="938336751" sldId="701"/>
            <ac:spMk id="39" creationId="{E72AB223-D970-0597-9488-656DAC468F07}"/>
          </ac:spMkLst>
        </pc:spChg>
        <pc:grpChg chg="add del mod">
          <ac:chgData name="Lin, Sibo" userId="ea051dd4-adc5-46dc-bb80-8ca847fcc2d8" providerId="ADAL" clId="{7EA2BB86-E007-45EB-866C-9A595ED0A894}" dt="2022-11-23T07:41:20.402" v="2665" actId="165"/>
          <ac:grpSpMkLst>
            <pc:docMk/>
            <pc:sldMk cId="938336751" sldId="701"/>
            <ac:grpSpMk id="5" creationId="{C0832A76-59E7-80A9-9145-40CF397A3426}"/>
          </ac:grpSpMkLst>
        </pc:grpChg>
        <pc:grpChg chg="del mod topLvl">
          <ac:chgData name="Lin, Sibo" userId="ea051dd4-adc5-46dc-bb80-8ca847fcc2d8" providerId="ADAL" clId="{7EA2BB86-E007-45EB-866C-9A595ED0A894}" dt="2022-11-23T07:42:46.780" v="2709" actId="165"/>
          <ac:grpSpMkLst>
            <pc:docMk/>
            <pc:sldMk cId="938336751" sldId="701"/>
            <ac:grpSpMk id="7" creationId="{A4D99E77-61F9-68BF-F701-70D63CBE55F2}"/>
          </ac:grpSpMkLst>
        </pc:grpChg>
        <pc:grpChg chg="del mod topLvl">
          <ac:chgData name="Lin, Sibo" userId="ea051dd4-adc5-46dc-bb80-8ca847fcc2d8" providerId="ADAL" clId="{7EA2BB86-E007-45EB-866C-9A595ED0A894}" dt="2022-11-23T07:41:38" v="2670" actId="165"/>
          <ac:grpSpMkLst>
            <pc:docMk/>
            <pc:sldMk cId="938336751" sldId="701"/>
            <ac:grpSpMk id="8" creationId="{D4F5D1F6-CD3C-2477-578B-A32DD181EAC3}"/>
          </ac:grpSpMkLst>
        </pc:grpChg>
        <pc:grpChg chg="add del mod">
          <ac:chgData name="Lin, Sibo" userId="ea051dd4-adc5-46dc-bb80-8ca847fcc2d8" providerId="ADAL" clId="{7EA2BB86-E007-45EB-866C-9A595ED0A894}" dt="2022-11-23T16:58:38.471" v="3558" actId="21"/>
          <ac:grpSpMkLst>
            <pc:docMk/>
            <pc:sldMk cId="938336751" sldId="701"/>
            <ac:grpSpMk id="14" creationId="{3BB3F049-E550-5B36-CF39-39EE83C30C95}"/>
          </ac:grpSpMkLst>
        </pc:grpChg>
        <pc:grpChg chg="add mod">
          <ac:chgData name="Lin, Sibo" userId="ea051dd4-adc5-46dc-bb80-8ca847fcc2d8" providerId="ADAL" clId="{7EA2BB86-E007-45EB-866C-9A595ED0A894}" dt="2022-11-23T16:58:44.197" v="3559" actId="1076"/>
          <ac:grpSpMkLst>
            <pc:docMk/>
            <pc:sldMk cId="938336751" sldId="701"/>
            <ac:grpSpMk id="26" creationId="{48B4CC88-F4EC-C6E4-FCA3-1EA62DFA779F}"/>
          </ac:grpSpMkLst>
        </pc:grpChg>
        <pc:grpChg chg="add mod">
          <ac:chgData name="Lin, Sibo" userId="ea051dd4-adc5-46dc-bb80-8ca847fcc2d8" providerId="ADAL" clId="{7EA2BB86-E007-45EB-866C-9A595ED0A894}" dt="2022-11-23T16:58:52.159" v="3562" actId="1076"/>
          <ac:grpSpMkLst>
            <pc:docMk/>
            <pc:sldMk cId="938336751" sldId="701"/>
            <ac:grpSpMk id="31" creationId="{476601FD-50B4-B2B8-2DBA-96224FD078AE}"/>
          </ac:grpSpMkLst>
        </pc:grpChg>
        <pc:graphicFrameChg chg="add mod">
          <ac:chgData name="Lin, Sibo" userId="ea051dd4-adc5-46dc-bb80-8ca847fcc2d8" providerId="ADAL" clId="{7EA2BB86-E007-45EB-866C-9A595ED0A894}" dt="2022-11-23T07:51:59.640" v="3269" actId="1038"/>
          <ac:graphicFrameMkLst>
            <pc:docMk/>
            <pc:sldMk cId="938336751" sldId="701"/>
            <ac:graphicFrameMk id="4" creationId="{B4C3B21F-CF41-FF31-E9BB-0DAF4A86B0DE}"/>
          </ac:graphicFrameMkLst>
        </pc:graphicFrameChg>
        <pc:graphicFrameChg chg="del mod topLvl">
          <ac:chgData name="Lin, Sibo" userId="ea051dd4-adc5-46dc-bb80-8ca847fcc2d8" providerId="ADAL" clId="{7EA2BB86-E007-45EB-866C-9A595ED0A894}" dt="2022-11-23T07:50:02.072" v="3221" actId="478"/>
          <ac:graphicFrameMkLst>
            <pc:docMk/>
            <pc:sldMk cId="938336751" sldId="701"/>
            <ac:graphicFrameMk id="11" creationId="{ADE9FCA3-CEF4-F3D4-9B44-7B8206772FBD}"/>
          </ac:graphicFrameMkLst>
        </pc:graphicFrameChg>
        <pc:graphicFrameChg chg="mod">
          <ac:chgData name="Lin, Sibo" userId="ea051dd4-adc5-46dc-bb80-8ca847fcc2d8" providerId="ADAL" clId="{7EA2BB86-E007-45EB-866C-9A595ED0A894}" dt="2022-11-23T07:42:35.290" v="2705"/>
          <ac:graphicFrameMkLst>
            <pc:docMk/>
            <pc:sldMk cId="938336751" sldId="701"/>
            <ac:graphicFrameMk id="15" creationId="{30966768-07CB-90F2-878F-DF779D441490}"/>
          </ac:graphicFrameMkLst>
        </pc:graphicFrameChg>
        <pc:graphicFrameChg chg="add mod">
          <ac:chgData name="Lin, Sibo" userId="ea051dd4-adc5-46dc-bb80-8ca847fcc2d8" providerId="ADAL" clId="{7EA2BB86-E007-45EB-866C-9A595ED0A894}" dt="2022-11-23T07:54:20.092" v="3311" actId="1038"/>
          <ac:graphicFrameMkLst>
            <pc:docMk/>
            <pc:sldMk cId="938336751" sldId="701"/>
            <ac:graphicFrameMk id="23" creationId="{44013861-232B-4AE9-7E80-CE742F3DCA8E}"/>
          </ac:graphicFrameMkLst>
        </pc:graphicFrameChg>
        <pc:graphicFrameChg chg="add mod">
          <ac:chgData name="Lin, Sibo" userId="ea051dd4-adc5-46dc-bb80-8ca847fcc2d8" providerId="ADAL" clId="{7EA2BB86-E007-45EB-866C-9A595ED0A894}" dt="2022-11-23T07:52:27.777" v="3271" actId="164"/>
          <ac:graphicFrameMkLst>
            <pc:docMk/>
            <pc:sldMk cId="938336751" sldId="701"/>
            <ac:graphicFrameMk id="24" creationId="{7B88E96D-7335-1984-B6E1-E48A6FCCA49A}"/>
          </ac:graphicFrameMkLst>
        </pc:graphicFrameChg>
        <pc:graphicFrameChg chg="add mod">
          <ac:chgData name="Lin, Sibo" userId="ea051dd4-adc5-46dc-bb80-8ca847fcc2d8" providerId="ADAL" clId="{7EA2BB86-E007-45EB-866C-9A595ED0A894}" dt="2022-11-23T16:58:44.197" v="3559" actId="1076"/>
          <ac:graphicFrameMkLst>
            <pc:docMk/>
            <pc:sldMk cId="938336751" sldId="701"/>
            <ac:graphicFrameMk id="27" creationId="{889FD88A-8F1D-916B-BE77-BA16B0F5E35C}"/>
          </ac:graphicFrameMkLst>
        </pc:graphicFrameChg>
        <pc:graphicFrameChg chg="mod">
          <ac:chgData name="Lin, Sibo" userId="ea051dd4-adc5-46dc-bb80-8ca847fcc2d8" providerId="ADAL" clId="{7EA2BB86-E007-45EB-866C-9A595ED0A894}" dt="2022-11-23T16:58:45.330" v="3560"/>
          <ac:graphicFrameMkLst>
            <pc:docMk/>
            <pc:sldMk cId="938336751" sldId="701"/>
            <ac:graphicFrameMk id="32" creationId="{6F7DB8EE-E0B0-83AD-5960-651ACC56C3D7}"/>
          </ac:graphicFrameMkLst>
        </pc:graphicFrameChg>
        <pc:picChg chg="del mod topLvl">
          <ac:chgData name="Lin, Sibo" userId="ea051dd4-adc5-46dc-bb80-8ca847fcc2d8" providerId="ADAL" clId="{7EA2BB86-E007-45EB-866C-9A595ED0A894}" dt="2022-11-23T16:58:38.471" v="3558" actId="21"/>
          <ac:picMkLst>
            <pc:docMk/>
            <pc:sldMk cId="938336751" sldId="701"/>
            <ac:picMk id="13" creationId="{AECC3E7C-4786-6ED3-A38E-07D211FC90CB}"/>
          </ac:picMkLst>
        </pc:picChg>
        <pc:picChg chg="add mod">
          <ac:chgData name="Lin, Sibo" userId="ea051dd4-adc5-46dc-bb80-8ca847fcc2d8" providerId="ADAL" clId="{7EA2BB86-E007-45EB-866C-9A595ED0A894}" dt="2022-11-23T16:58:52.159" v="3562" actId="1076"/>
          <ac:picMkLst>
            <pc:docMk/>
            <pc:sldMk cId="938336751" sldId="701"/>
            <ac:picMk id="30" creationId="{4F6F917C-116A-A23F-A60E-A3EAD41037DA}"/>
          </ac:picMkLst>
        </pc:picChg>
      </pc:sldChg>
      <pc:sldMasterChg chg="delSldLayout">
        <pc:chgData name="Lin, Sibo" userId="ea051dd4-adc5-46dc-bb80-8ca847fcc2d8" providerId="ADAL" clId="{7EA2BB86-E007-45EB-866C-9A595ED0A894}" dt="2022-11-23T07:27:16.111" v="2021" actId="47"/>
        <pc:sldMasterMkLst>
          <pc:docMk/>
          <pc:sldMasterMk cId="2031697738" sldId="2147484096"/>
        </pc:sldMasterMkLst>
        <pc:sldLayoutChg chg="del">
          <pc:chgData name="Lin, Sibo" userId="ea051dd4-adc5-46dc-bb80-8ca847fcc2d8" providerId="ADAL" clId="{7EA2BB86-E007-45EB-866C-9A595ED0A894}" dt="2022-11-23T07:27:16.111" v="2021" actId="47"/>
          <pc:sldLayoutMkLst>
            <pc:docMk/>
            <pc:sldMasterMk cId="2031697738" sldId="2147484096"/>
            <pc:sldLayoutMk cId="711629693" sldId="2147484122"/>
          </pc:sldLayoutMkLst>
        </pc:sldLayoutChg>
        <pc:sldLayoutChg chg="del">
          <pc:chgData name="Lin, Sibo" userId="ea051dd4-adc5-46dc-bb80-8ca847fcc2d8" providerId="ADAL" clId="{7EA2BB86-E007-45EB-866C-9A595ED0A894}" dt="2022-11-23T07:27:04.139" v="2020" actId="47"/>
          <pc:sldLayoutMkLst>
            <pc:docMk/>
            <pc:sldMasterMk cId="2031697738" sldId="2147484096"/>
            <pc:sldLayoutMk cId="3361697818" sldId="2147484125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brc-nas\amt\member%20folders\Sibo%20Lin\Computation\PNPCr_arene\PNPCr_arene_GoodVibes_Solv_Oct4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brc-nas\amt\member%20folders\Sibo%20Lin\Computation\PNPCr_arene\PNPCr_arene_GoodVibes_Solv_Oct4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\\brc-nas\amt\projects\CHEM\AOT\manuscripts\KFUPM_TriptycenePNP\4_CompiledVburResults.xlsx" TargetMode="External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\\brc-nas\amt\projects\CHEM\AOT\manuscripts\KFUPM_TriptycenePNP\4_CompiledVburResults.xlsx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dash"/>
            <c:size val="15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dLbl>
              <c:idx val="5"/>
              <c:layout>
                <c:manualLayout>
                  <c:x val="-2.8163871949974054E-2"/>
                  <c:y val="-4.33259057644492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77D-4CA4-B274-2BE2E74A1C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plot!$B$2:$B$15</c:f>
              <c:numCache>
                <c:formatCode>General</c:formatCode>
                <c:ptCount val="1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8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9</c:v>
                </c:pt>
                <c:pt idx="11">
                  <c:v>11</c:v>
                </c:pt>
                <c:pt idx="12">
                  <c:v>10</c:v>
                </c:pt>
                <c:pt idx="13">
                  <c:v>11</c:v>
                </c:pt>
              </c:numCache>
            </c:numRef>
          </c:xVal>
          <c:yVal>
            <c:numRef>
              <c:f>plot!$C$2:$C$15</c:f>
              <c:numCache>
                <c:formatCode>0.0</c:formatCode>
                <c:ptCount val="14"/>
                <c:pt idx="0">
                  <c:v>0</c:v>
                </c:pt>
                <c:pt idx="1">
                  <c:v>16.950837874458102</c:v>
                </c:pt>
                <c:pt idx="2">
                  <c:v>16.100000000000001</c:v>
                </c:pt>
                <c:pt idx="3">
                  <c:v>10.798796246590143</c:v>
                </c:pt>
                <c:pt idx="4">
                  <c:v>16.311571694810212</c:v>
                </c:pt>
                <c:pt idx="5">
                  <c:v>-0.13131572983006379</c:v>
                </c:pt>
                <c:pt idx="6">
                  <c:v>6.0810333964395369</c:v>
                </c:pt>
                <c:pt idx="7">
                  <c:v>-4.1798430108188711</c:v>
                </c:pt>
                <c:pt idx="8">
                  <c:v>0.64659791856698234</c:v>
                </c:pt>
                <c:pt idx="9">
                  <c:v>3.0979440067268627</c:v>
                </c:pt>
                <c:pt idx="10">
                  <c:v>-10.222484260283267</c:v>
                </c:pt>
                <c:pt idx="11">
                  <c:v>-5.1465407461397206</c:v>
                </c:pt>
                <c:pt idx="12">
                  <c:v>-14.362646583875076</c:v>
                </c:pt>
                <c:pt idx="13">
                  <c:v>2.34993496833872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D27-47A5-AE74-1BFA1EFC1B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33689056"/>
        <c:axId val="636898048"/>
      </c:scatterChart>
      <c:valAx>
        <c:axId val="6336890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36898048"/>
        <c:crossesAt val="0"/>
        <c:crossBetween val="midCat"/>
      </c:valAx>
      <c:valAx>
        <c:axId val="6368980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>
                    <a:solidFill>
                      <a:schemeClr val="tx1"/>
                    </a:solidFill>
                  </a:rPr>
                  <a:t>ΔG (kcal/mol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" sourceLinked="1"/>
        <c:majorTickMark val="in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368905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dash"/>
            <c:size val="15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plot!$B$2:$B$15</c:f>
              <c:numCache>
                <c:formatCode>General</c:formatCode>
                <c:ptCount val="1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8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9</c:v>
                </c:pt>
                <c:pt idx="11">
                  <c:v>11</c:v>
                </c:pt>
                <c:pt idx="12">
                  <c:v>10</c:v>
                </c:pt>
                <c:pt idx="13">
                  <c:v>11</c:v>
                </c:pt>
              </c:numCache>
            </c:numRef>
          </c:xVal>
          <c:yVal>
            <c:numRef>
              <c:f>plot!$C$2:$C$15</c:f>
              <c:numCache>
                <c:formatCode>0.0</c:formatCode>
                <c:ptCount val="14"/>
                <c:pt idx="0">
                  <c:v>0</c:v>
                </c:pt>
                <c:pt idx="1">
                  <c:v>16.950837874458102</c:v>
                </c:pt>
                <c:pt idx="2">
                  <c:v>16.100000000000001</c:v>
                </c:pt>
                <c:pt idx="3">
                  <c:v>10.798796246590143</c:v>
                </c:pt>
                <c:pt idx="4">
                  <c:v>16.311571694810212</c:v>
                </c:pt>
                <c:pt idx="5">
                  <c:v>-0.13131572983006379</c:v>
                </c:pt>
                <c:pt idx="6">
                  <c:v>6.0810333964395369</c:v>
                </c:pt>
                <c:pt idx="7">
                  <c:v>-4.1798430108188711</c:v>
                </c:pt>
                <c:pt idx="8">
                  <c:v>0.64659791856698234</c:v>
                </c:pt>
                <c:pt idx="9">
                  <c:v>3.0979440067268627</c:v>
                </c:pt>
                <c:pt idx="10">
                  <c:v>-10.222484260283267</c:v>
                </c:pt>
                <c:pt idx="11">
                  <c:v>-5.1465407461397206</c:v>
                </c:pt>
                <c:pt idx="12">
                  <c:v>-14.362646583875076</c:v>
                </c:pt>
                <c:pt idx="13">
                  <c:v>2.34993496833872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D27-47A5-AE74-1BFA1EFC1B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33689056"/>
        <c:axId val="636898048"/>
      </c:scatterChart>
      <c:valAx>
        <c:axId val="6336890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36898048"/>
        <c:crossesAt val="0"/>
        <c:crossBetween val="midCat"/>
      </c:valAx>
      <c:valAx>
        <c:axId val="6368980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>
                    <a:solidFill>
                      <a:schemeClr val="tx1"/>
                    </a:solidFill>
                  </a:rPr>
                  <a:t>ΔG (kcal/mol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" sourceLinked="1"/>
        <c:majorTickMark val="in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368905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electedSubsetGraph!$M$2:$M$7</c:f>
              <c:numCache>
                <c:formatCode>General</c:formatCode>
                <c:ptCount val="6"/>
                <c:pt idx="0">
                  <c:v>81</c:v>
                </c:pt>
                <c:pt idx="1">
                  <c:v>82</c:v>
                </c:pt>
                <c:pt idx="2">
                  <c:v>83</c:v>
                </c:pt>
                <c:pt idx="3">
                  <c:v>84.4</c:v>
                </c:pt>
                <c:pt idx="4">
                  <c:v>84.9</c:v>
                </c:pt>
                <c:pt idx="5">
                  <c:v>88.9</c:v>
                </c:pt>
              </c:numCache>
            </c:numRef>
          </c:xVal>
          <c:yVal>
            <c:numRef>
              <c:f>selectedSubsetGraph!$G$2:$G$7</c:f>
              <c:numCache>
                <c:formatCode>General</c:formatCode>
                <c:ptCount val="6"/>
                <c:pt idx="0">
                  <c:v>44</c:v>
                </c:pt>
                <c:pt idx="1">
                  <c:v>26.5</c:v>
                </c:pt>
                <c:pt idx="2">
                  <c:v>37.5</c:v>
                </c:pt>
                <c:pt idx="3">
                  <c:v>298.8</c:v>
                </c:pt>
                <c:pt idx="4">
                  <c:v>324.10000000000002</c:v>
                </c:pt>
                <c:pt idx="5">
                  <c:v>272.3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513-44B0-A165-8F4F0AD17B55}"/>
            </c:ext>
          </c:extLst>
        </c:ser>
        <c:ser>
          <c:idx val="1"/>
          <c:order val="1"/>
          <c:spPr>
            <a:ln w="25400">
              <a:noFill/>
            </a:ln>
          </c:spPr>
          <c:marker>
            <c:symbol val="circle"/>
            <c:size val="7"/>
            <c:spPr>
              <a:solidFill>
                <a:srgbClr val="70AD47"/>
              </a:solidFill>
              <a:ln>
                <a:solidFill>
                  <a:srgbClr val="70AD47"/>
                </a:solidFill>
              </a:ln>
            </c:spPr>
          </c:marker>
          <c:xVal>
            <c:numRef>
              <c:f>selectedSubsetGraph!$M$8:$M$12</c:f>
              <c:numCache>
                <c:formatCode>General</c:formatCode>
                <c:ptCount val="5"/>
                <c:pt idx="0">
                  <c:v>87.5</c:v>
                </c:pt>
                <c:pt idx="1">
                  <c:v>88</c:v>
                </c:pt>
                <c:pt idx="2">
                  <c:v>89.3</c:v>
                </c:pt>
                <c:pt idx="3">
                  <c:v>89</c:v>
                </c:pt>
                <c:pt idx="4">
                  <c:v>89.2</c:v>
                </c:pt>
              </c:numCache>
            </c:numRef>
          </c:xVal>
          <c:yVal>
            <c:numRef>
              <c:f>selectedSubsetGraph!$G$8:$G$12</c:f>
              <c:numCache>
                <c:formatCode>General</c:formatCode>
                <c:ptCount val="5"/>
                <c:pt idx="0">
                  <c:v>464.4</c:v>
                </c:pt>
                <c:pt idx="1">
                  <c:v>390.7</c:v>
                </c:pt>
                <c:pt idx="2">
                  <c:v>544.6</c:v>
                </c:pt>
                <c:pt idx="3">
                  <c:v>725.3</c:v>
                </c:pt>
                <c:pt idx="4">
                  <c:v>737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E513-44B0-A165-8F4F0AD17B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49860000"/>
        <c:axId val="248661504"/>
      </c:scatterChart>
      <c:valAx>
        <c:axId val="2498600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%VBur(N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in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8661504"/>
        <c:crosses val="autoZero"/>
        <c:crossBetween val="midCat"/>
      </c:valAx>
      <c:valAx>
        <c:axId val="248661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 i="0" u="none" strike="noStrike" baseline="0">
                    <a:effectLst/>
                  </a:rPr>
                  <a:t>Productivity (kg/g Cr/h)</a:t>
                </a:r>
                <a:r>
                  <a:rPr lang="en-US" sz="1200" b="0" i="0" u="none" strike="noStrike" baseline="0"/>
                  <a:t> 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in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9860000"/>
        <c:crosses val="autoZero"/>
        <c:crossBetween val="midCat"/>
      </c:valAx>
    </c:plotArea>
    <c:plotVisOnly val="1"/>
    <c:dispBlanksAs val="gap"/>
    <c:showDLblsOverMax val="0"/>
    <c:extLst/>
  </c:chart>
  <c:spPr>
    <a:ln>
      <a:noFill/>
    </a:ln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19050">
              <a:noFill/>
            </a:ln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electedSubsetGraph!$M$2:$M$7</c:f>
              <c:numCache>
                <c:formatCode>General</c:formatCode>
                <c:ptCount val="6"/>
                <c:pt idx="0">
                  <c:v>81</c:v>
                </c:pt>
                <c:pt idx="1">
                  <c:v>82</c:v>
                </c:pt>
                <c:pt idx="2">
                  <c:v>83</c:v>
                </c:pt>
                <c:pt idx="3">
                  <c:v>84.4</c:v>
                </c:pt>
                <c:pt idx="4">
                  <c:v>84.9</c:v>
                </c:pt>
                <c:pt idx="5">
                  <c:v>88.9</c:v>
                </c:pt>
              </c:numCache>
            </c:numRef>
          </c:xVal>
          <c:yVal>
            <c:numRef>
              <c:f>selectedSubsetGraph!$I$2:$I$7</c:f>
              <c:numCache>
                <c:formatCode>General</c:formatCode>
                <c:ptCount val="6"/>
                <c:pt idx="0">
                  <c:v>40</c:v>
                </c:pt>
                <c:pt idx="1">
                  <c:v>9</c:v>
                </c:pt>
                <c:pt idx="2">
                  <c:v>8</c:v>
                </c:pt>
                <c:pt idx="3">
                  <c:v>3</c:v>
                </c:pt>
                <c:pt idx="4">
                  <c:v>3</c:v>
                </c:pt>
                <c:pt idx="5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1AD-4224-9D04-CBD369C9A05A}"/>
            </c:ext>
          </c:extLst>
        </c:ser>
        <c:ser>
          <c:idx val="1"/>
          <c:order val="1"/>
          <c:spPr>
            <a:ln w="19050">
              <a:noFill/>
            </a:ln>
          </c:spPr>
          <c:marker>
            <c:symbol val="circle"/>
            <c:size val="7"/>
            <c:spPr>
              <a:solidFill>
                <a:srgbClr val="70AD47"/>
              </a:solidFill>
              <a:ln>
                <a:solidFill>
                  <a:srgbClr val="70AD47"/>
                </a:solidFill>
              </a:ln>
            </c:spPr>
          </c:marker>
          <c:xVal>
            <c:numRef>
              <c:f>selectedSubsetGraph!$M$8:$M$12</c:f>
              <c:numCache>
                <c:formatCode>General</c:formatCode>
                <c:ptCount val="5"/>
                <c:pt idx="0">
                  <c:v>87.5</c:v>
                </c:pt>
                <c:pt idx="1">
                  <c:v>88</c:v>
                </c:pt>
                <c:pt idx="2">
                  <c:v>89.3</c:v>
                </c:pt>
                <c:pt idx="3">
                  <c:v>89</c:v>
                </c:pt>
                <c:pt idx="4">
                  <c:v>89.2</c:v>
                </c:pt>
              </c:numCache>
            </c:numRef>
          </c:xVal>
          <c:yVal>
            <c:numRef>
              <c:f>selectedSubsetGraph!$I$8:$I$12</c:f>
              <c:numCache>
                <c:formatCode>General</c:formatCode>
                <c:ptCount val="5"/>
                <c:pt idx="0">
                  <c:v>1.8</c:v>
                </c:pt>
                <c:pt idx="1">
                  <c:v>1.3</c:v>
                </c:pt>
                <c:pt idx="2">
                  <c:v>2</c:v>
                </c:pt>
                <c:pt idx="3">
                  <c:v>0.9</c:v>
                </c:pt>
                <c:pt idx="4">
                  <c:v>1.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1AD-4224-9D04-CBD369C9A0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49860000"/>
        <c:axId val="248661504"/>
      </c:scatterChart>
      <c:valAx>
        <c:axId val="2498600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%VBur(N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in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8661504"/>
        <c:crosses val="autoZero"/>
        <c:crossBetween val="midCat"/>
      </c:valAx>
      <c:valAx>
        <c:axId val="248661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 i="0" u="none" strike="noStrike" baseline="0">
                    <a:effectLst/>
                  </a:rPr>
                  <a:t>PE wt%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in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9860000"/>
        <c:crosses val="autoZero"/>
        <c:crossBetween val="midCat"/>
      </c:valAx>
    </c:plotArea>
    <c:plotVisOnly val="1"/>
    <c:dispBlanksAs val="gap"/>
    <c:showDLblsOverMax val="0"/>
    <c:extLst/>
  </c:chart>
  <c:spPr>
    <a:ln>
      <a:noFill/>
    </a:ln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981A16-C9C6-4952-B80A-2F6E71F4CDB9}" type="datetimeFigureOut">
              <a:rPr lang="en-US" smtClean="0"/>
              <a:t>11/2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131D32-CD5D-40D4-AC50-D3ABCB7C45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365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131D32-CD5D-40D4-AC50-D3ABCB7C45C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3303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84150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enchmark References) </a:t>
            </a:r>
          </a:p>
          <a:p>
            <a:pPr algn="l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ollman et al, </a:t>
            </a:r>
            <a: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J. Am. Chem. Soc. 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2004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126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14712 </a:t>
            </a: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(in toluene and </a:t>
            </a:r>
            <a:r>
              <a:rPr lang="en-US" sz="1200" b="0" dirty="0" err="1">
                <a:latin typeface="Arial" panose="020B0604020202020204" pitchFamily="34" charset="0"/>
                <a:cs typeface="Arial" panose="020B0604020202020204" pitchFamily="34" charset="0"/>
              </a:rPr>
              <a:t>CyH</a:t>
            </a: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algn="l"/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Blann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et al, </a:t>
            </a:r>
            <a: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J. </a:t>
            </a:r>
            <a:r>
              <a:rPr lang="en-US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Catal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2007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249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244. (in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MeCy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14910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se graphics to describe challenges: increase activity, increase 1-octene selectivity, decrease PE selectiv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8516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43040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7217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78951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1070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1610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ometries optimized by Mohamed with DMol3 as cationic, quartet spin </a:t>
            </a:r>
            <a:r>
              <a:rPr lang="en-US" dirty="0" err="1"/>
              <a:t>chromacycloheptane</a:t>
            </a:r>
            <a:r>
              <a:rPr lang="en-US" dirty="0"/>
              <a:t> species</a:t>
            </a:r>
          </a:p>
          <a:p>
            <a:r>
              <a:rPr lang="en-US" dirty="0"/>
              <a:t>Buried volumes calculated by Sibo with </a:t>
            </a:r>
            <a:r>
              <a:rPr lang="en-US" dirty="0" err="1"/>
              <a:t>SambVca</a:t>
            </a:r>
            <a:endParaRPr lang="en-US" dirty="0"/>
          </a:p>
          <a:p>
            <a:endParaRPr lang="en-US" dirty="0"/>
          </a:p>
          <a:p>
            <a:r>
              <a:rPr lang="en-US" dirty="0"/>
              <a:t>Experimental data from 2 Sasol papers:</a:t>
            </a:r>
          </a:p>
          <a:p>
            <a:pPr marL="228600" indent="-228600">
              <a:buAutoNum type="arabicParenR"/>
            </a:pPr>
            <a:r>
              <a:rPr lang="en-US" dirty="0"/>
              <a:t>Kuhlmann et al, J. </a:t>
            </a:r>
            <a:r>
              <a:rPr lang="en-US" dirty="0" err="1"/>
              <a:t>Catal</a:t>
            </a:r>
            <a:r>
              <a:rPr lang="en-US" dirty="0"/>
              <a:t>. 2007, 245, 279-284</a:t>
            </a:r>
          </a:p>
          <a:p>
            <a:pPr marL="228600" indent="-228600">
              <a:buAutoNum type="arabicParenR"/>
            </a:pPr>
            <a:r>
              <a:rPr lang="en-US" dirty="0" err="1"/>
              <a:t>Blann</a:t>
            </a:r>
            <a:r>
              <a:rPr lang="en-US" dirty="0"/>
              <a:t> et al, Chem </a:t>
            </a:r>
            <a:r>
              <a:rPr lang="en-US" dirty="0" err="1"/>
              <a:t>Commun</a:t>
            </a:r>
            <a:r>
              <a:rPr lang="en-US" dirty="0"/>
              <a:t> 2005, 620-621</a:t>
            </a:r>
          </a:p>
          <a:p>
            <a:pPr marL="228600" indent="-228600">
              <a:buAutoNum type="arabicParenR"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se trends are much weaker with KFUPM’s experimental data in </a:t>
            </a:r>
            <a:r>
              <a:rPr lang="en-US" dirty="0" err="1"/>
              <a:t>PhCl</a:t>
            </a:r>
            <a:r>
              <a:rPr lang="en-US" dirty="0"/>
              <a:t>, other mechanisms</a:t>
            </a:r>
            <a:r>
              <a:rPr lang="en-US"/>
              <a:t>/trends </a:t>
            </a:r>
            <a:r>
              <a:rPr lang="en-US" dirty="0"/>
              <a:t>may be operative in different solven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9170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over_circle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049524"/>
            <a:ext cx="5626608" cy="27919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88" y="1109807"/>
            <a:ext cx="8231187" cy="1215129"/>
          </a:xfrm>
        </p:spPr>
        <p:txBody>
          <a:bodyPr/>
          <a:lstStyle>
            <a:lvl1pPr>
              <a:defRPr sz="4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8789" y="2427690"/>
            <a:ext cx="4113212" cy="513958"/>
          </a:xfrm>
        </p:spPr>
        <p:txBody>
          <a:bodyPr/>
          <a:lstStyle>
            <a:lvl1pPr marL="0" indent="0" algn="l">
              <a:buNone/>
              <a:defRPr sz="1000" b="1" cap="all">
                <a:solidFill>
                  <a:srgbClr val="55565A"/>
                </a:solidFill>
              </a:defRPr>
            </a:lvl1pPr>
            <a:lvl2pPr marL="39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9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9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8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83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80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77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73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 descr="SA_LOGO_ONLINE_TAGLINE_SPOT_POS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7253" y="4761757"/>
            <a:ext cx="1969008" cy="14630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4325" y="246705"/>
            <a:ext cx="1621936" cy="720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331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Gree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98" y="191195"/>
            <a:ext cx="8263247" cy="512589"/>
          </a:xfrm>
        </p:spPr>
        <p:txBody>
          <a:bodyPr anchor="t"/>
          <a:lstStyle>
            <a:lvl1pPr algn="l">
              <a:defRPr sz="33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5798" y="724239"/>
            <a:ext cx="8263247" cy="513385"/>
          </a:xfrm>
        </p:spPr>
        <p:txBody>
          <a:bodyPr anchor="t"/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  <a:lvl2pPr marL="396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934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901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868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8361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80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7705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737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45798" y="2510033"/>
            <a:ext cx="8263247" cy="2152505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7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Trebuchet MS"/>
              </a:rPr>
              <a:t>27/10/2014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SA_PRINT_LOGO_MRKT_CMYK_NEG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17" r="33320"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2105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Gre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98" y="191195"/>
            <a:ext cx="8263247" cy="512589"/>
          </a:xfrm>
        </p:spPr>
        <p:txBody>
          <a:bodyPr anchor="t"/>
          <a:lstStyle>
            <a:lvl1pPr algn="l">
              <a:defRPr sz="33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5798" y="724239"/>
            <a:ext cx="8263247" cy="513385"/>
          </a:xfrm>
        </p:spPr>
        <p:txBody>
          <a:bodyPr anchor="t"/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  <a:lvl2pPr marL="396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934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901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868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8361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80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7705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737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45798" y="2510033"/>
            <a:ext cx="8263247" cy="2152505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7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Trebuchet MS"/>
              </a:rPr>
              <a:t>27/10/2014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SA_PRINT_LOGO_MRKT_CMYK_NEG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17" r="33320"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7734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98" y="191195"/>
            <a:ext cx="8263247" cy="512589"/>
          </a:xfrm>
        </p:spPr>
        <p:txBody>
          <a:bodyPr anchor="t"/>
          <a:lstStyle>
            <a:lvl1pPr algn="l">
              <a:defRPr sz="33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5798" y="724239"/>
            <a:ext cx="8263247" cy="513385"/>
          </a:xfrm>
        </p:spPr>
        <p:txBody>
          <a:bodyPr anchor="t"/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  <a:lvl2pPr marL="396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934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901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868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8361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80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7705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737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45798" y="2510033"/>
            <a:ext cx="8263247" cy="2152505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7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Trebuchet MS"/>
              </a:rPr>
              <a:t>27/10/2014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SA_PRINT_LOGO_MRKT_CMYK_NEG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17" r="33320"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1629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Dark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98" y="191195"/>
            <a:ext cx="8263247" cy="512589"/>
          </a:xfrm>
        </p:spPr>
        <p:txBody>
          <a:bodyPr anchor="t"/>
          <a:lstStyle>
            <a:lvl1pPr algn="l">
              <a:defRPr sz="33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5798" y="724239"/>
            <a:ext cx="8263247" cy="513385"/>
          </a:xfrm>
        </p:spPr>
        <p:txBody>
          <a:bodyPr anchor="t"/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  <a:lvl2pPr marL="396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934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901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868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8361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80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7705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737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45798" y="2510033"/>
            <a:ext cx="8263247" cy="2152505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7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Trebuchet MS"/>
              </a:rPr>
              <a:t>27/10/2014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SA_PRINT_LOGO_MRKT_CMYK_NEG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17" r="33320"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0305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f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rallelogram 5"/>
          <p:cNvSpPr/>
          <p:nvPr/>
        </p:nvSpPr>
        <p:spPr>
          <a:xfrm>
            <a:off x="3432099" y="4"/>
            <a:ext cx="5711902" cy="5148146"/>
          </a:xfrm>
          <a:custGeom>
            <a:avLst/>
            <a:gdLst>
              <a:gd name="connsiteX0" fmla="*/ 0 w 5711902"/>
              <a:gd name="connsiteY0" fmla="*/ 6858000 h 6858000"/>
              <a:gd name="connsiteX1" fmla="*/ 1496118 w 5711902"/>
              <a:gd name="connsiteY1" fmla="*/ 0 h 6858000"/>
              <a:gd name="connsiteX2" fmla="*/ 5711902 w 5711902"/>
              <a:gd name="connsiteY2" fmla="*/ 0 h 6858000"/>
              <a:gd name="connsiteX3" fmla="*/ 4215784 w 5711902"/>
              <a:gd name="connsiteY3" fmla="*/ 6858000 h 6858000"/>
              <a:gd name="connsiteX4" fmla="*/ 0 w 5711902"/>
              <a:gd name="connsiteY4" fmla="*/ 6858000 h 6858000"/>
              <a:gd name="connsiteX0" fmla="*/ 0 w 5711902"/>
              <a:gd name="connsiteY0" fmla="*/ 6858000 h 6864195"/>
              <a:gd name="connsiteX1" fmla="*/ 1496118 w 5711902"/>
              <a:gd name="connsiteY1" fmla="*/ 0 h 6864195"/>
              <a:gd name="connsiteX2" fmla="*/ 5711902 w 5711902"/>
              <a:gd name="connsiteY2" fmla="*/ 0 h 6864195"/>
              <a:gd name="connsiteX3" fmla="*/ 5708808 w 5711902"/>
              <a:gd name="connsiteY3" fmla="*/ 6864195 h 6864195"/>
              <a:gd name="connsiteX4" fmla="*/ 0 w 5711902"/>
              <a:gd name="connsiteY4" fmla="*/ 6858000 h 6864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11902" h="6864195">
                <a:moveTo>
                  <a:pt x="0" y="6858000"/>
                </a:moveTo>
                <a:lnTo>
                  <a:pt x="1496118" y="0"/>
                </a:lnTo>
                <a:lnTo>
                  <a:pt x="5711902" y="0"/>
                </a:lnTo>
                <a:cubicBezTo>
                  <a:pt x="5710871" y="2288065"/>
                  <a:pt x="5709839" y="4576130"/>
                  <a:pt x="5708808" y="6864195"/>
                </a:cubicBez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10000">
                <a:schemeClr val="bg2"/>
              </a:gs>
              <a:gs pos="90000">
                <a:schemeClr val="tx2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9345" tIns="39673" rIns="79345" bIns="396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39672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600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-137" y="0"/>
            <a:ext cx="4943844" cy="5143500"/>
          </a:xfrm>
          <a:custGeom>
            <a:avLst/>
            <a:gdLst>
              <a:gd name="connsiteX0" fmla="*/ 0 w 4930775"/>
              <a:gd name="connsiteY0" fmla="*/ 6858000 h 6858000"/>
              <a:gd name="connsiteX1" fmla="*/ 1474302 w 4930775"/>
              <a:gd name="connsiteY1" fmla="*/ 0 h 6858000"/>
              <a:gd name="connsiteX2" fmla="*/ 4930775 w 4930775"/>
              <a:gd name="connsiteY2" fmla="*/ 0 h 6858000"/>
              <a:gd name="connsiteX3" fmla="*/ 3456473 w 4930775"/>
              <a:gd name="connsiteY3" fmla="*/ 6858000 h 6858000"/>
              <a:gd name="connsiteX4" fmla="*/ 0 w 4930775"/>
              <a:gd name="connsiteY4" fmla="*/ 6858000 h 6858000"/>
              <a:gd name="connsiteX0" fmla="*/ 137 w 4930912"/>
              <a:gd name="connsiteY0" fmla="*/ 6858000 h 6858000"/>
              <a:gd name="connsiteX1" fmla="*/ 0 w 4930912"/>
              <a:gd name="connsiteY1" fmla="*/ 6195 h 6858000"/>
              <a:gd name="connsiteX2" fmla="*/ 4930912 w 4930912"/>
              <a:gd name="connsiteY2" fmla="*/ 0 h 6858000"/>
              <a:gd name="connsiteX3" fmla="*/ 3456610 w 4930912"/>
              <a:gd name="connsiteY3" fmla="*/ 6858000 h 6858000"/>
              <a:gd name="connsiteX4" fmla="*/ 137 w 4930912"/>
              <a:gd name="connsiteY4" fmla="*/ 6858000 h 6858000"/>
              <a:gd name="connsiteX0" fmla="*/ 137 w 4930912"/>
              <a:gd name="connsiteY0" fmla="*/ 6858000 h 6858000"/>
              <a:gd name="connsiteX1" fmla="*/ 0 w 4930912"/>
              <a:gd name="connsiteY1" fmla="*/ 6195 h 6858000"/>
              <a:gd name="connsiteX2" fmla="*/ 4930912 w 4930912"/>
              <a:gd name="connsiteY2" fmla="*/ 0 h 6858000"/>
              <a:gd name="connsiteX3" fmla="*/ 3438025 w 4930912"/>
              <a:gd name="connsiteY3" fmla="*/ 6858000 h 6858000"/>
              <a:gd name="connsiteX4" fmla="*/ 137 w 4930912"/>
              <a:gd name="connsiteY4" fmla="*/ 6858000 h 6858000"/>
              <a:gd name="connsiteX0" fmla="*/ 137 w 4930912"/>
              <a:gd name="connsiteY0" fmla="*/ 6858000 h 6858000"/>
              <a:gd name="connsiteX1" fmla="*/ 0 w 4930912"/>
              <a:gd name="connsiteY1" fmla="*/ 0 h 6858000"/>
              <a:gd name="connsiteX2" fmla="*/ 4930912 w 4930912"/>
              <a:gd name="connsiteY2" fmla="*/ 0 h 6858000"/>
              <a:gd name="connsiteX3" fmla="*/ 3438025 w 4930912"/>
              <a:gd name="connsiteY3" fmla="*/ 6858000 h 6858000"/>
              <a:gd name="connsiteX4" fmla="*/ 137 w 49309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30912" h="6858000">
                <a:moveTo>
                  <a:pt x="137" y="6858000"/>
                </a:moveTo>
                <a:cubicBezTo>
                  <a:pt x="91" y="4574065"/>
                  <a:pt x="46" y="2283935"/>
                  <a:pt x="0" y="0"/>
                </a:cubicBezTo>
                <a:lnTo>
                  <a:pt x="4930912" y="0"/>
                </a:lnTo>
                <a:lnTo>
                  <a:pt x="3438025" y="6858000"/>
                </a:lnTo>
                <a:lnTo>
                  <a:pt x="137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1"/>
          </p:nvPr>
        </p:nvSpPr>
        <p:spPr>
          <a:xfrm>
            <a:off x="4921886" y="1102723"/>
            <a:ext cx="3787149" cy="1961388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Font typeface="Arial"/>
              <a:buNone/>
              <a:defRPr lang="en-US" sz="17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19868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ntent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921886" y="1102723"/>
            <a:ext cx="3787149" cy="1961388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44813" y="206004"/>
            <a:ext cx="8264215" cy="6181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01764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Gradient">
    <p:bg>
      <p:bgPr>
        <a:gradFill flip="none" rotWithShape="1">
          <a:gsLst>
            <a:gs pos="10000">
              <a:schemeClr val="bg2"/>
            </a:gs>
            <a:gs pos="90000">
              <a:schemeClr val="tx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4813" y="206007"/>
            <a:ext cx="8264215" cy="4115119"/>
          </a:xfrm>
        </p:spPr>
        <p:txBody>
          <a:bodyPr/>
          <a:lstStyle>
            <a:lvl1pPr>
              <a:defRPr sz="52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>
                <a:latin typeface="Trebuchet MS"/>
              </a:rPr>
              <a:t>27/10/2014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>
                <a:latin typeface="Trebuchet MS"/>
              </a:rPr>
              <a:t>Copyright note text (8pt)</a:t>
            </a:r>
            <a:endParaRPr dirty="0">
              <a:latin typeface="Trebuchet MS"/>
            </a:endParaRPr>
          </a:p>
        </p:txBody>
      </p:sp>
      <p:pic>
        <p:nvPicPr>
          <p:cNvPr id="5" name="Picture 4" descr="SA_LOGO_ONLINE_WORDMARK_SPOT_NEG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4177" y="4807508"/>
            <a:ext cx="870326" cy="18891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22818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Hexag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over_hexagon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2676906"/>
            <a:ext cx="6303264" cy="32857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88" y="1030295"/>
            <a:ext cx="8231187" cy="1215129"/>
          </a:xfrm>
        </p:spPr>
        <p:txBody>
          <a:bodyPr/>
          <a:lstStyle>
            <a:lvl1pPr>
              <a:defRPr sz="4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8789" y="2427690"/>
            <a:ext cx="4113212" cy="513958"/>
          </a:xfrm>
        </p:spPr>
        <p:txBody>
          <a:bodyPr/>
          <a:lstStyle>
            <a:lvl1pPr marL="0" indent="0" algn="l">
              <a:buNone/>
              <a:defRPr sz="1000" b="1" cap="all">
                <a:solidFill>
                  <a:srgbClr val="55565A"/>
                </a:solidFill>
              </a:defRPr>
            </a:lvl1pPr>
            <a:lvl2pPr marL="39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9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9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8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83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80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77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73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SA_LOGO_ONLINE_TAGLINE_SPOT_POS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7253" y="4761757"/>
            <a:ext cx="1969008" cy="146304"/>
          </a:xfrm>
          <a:prstGeom prst="rect">
            <a:avLst/>
          </a:prstGeom>
        </p:spPr>
      </p:pic>
      <p:pic>
        <p:nvPicPr>
          <p:cNvPr id="12" name="Picture 11" descr="SA_PRINT_LOGO_MRKT_SPOT_POS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8506" y="246705"/>
            <a:ext cx="1957012" cy="606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743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over_triangle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851660"/>
            <a:ext cx="7491984" cy="43891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88" y="1030295"/>
            <a:ext cx="8231187" cy="1215129"/>
          </a:xfrm>
        </p:spPr>
        <p:txBody>
          <a:bodyPr/>
          <a:lstStyle>
            <a:lvl1pPr>
              <a:defRPr sz="4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8792" y="2427690"/>
            <a:ext cx="4107017" cy="513958"/>
          </a:xfrm>
        </p:spPr>
        <p:txBody>
          <a:bodyPr/>
          <a:lstStyle>
            <a:lvl1pPr marL="0" indent="0" algn="l">
              <a:buNone/>
              <a:defRPr sz="1000" b="1" cap="all">
                <a:solidFill>
                  <a:srgbClr val="55565A"/>
                </a:solidFill>
              </a:defRPr>
            </a:lvl1pPr>
            <a:lvl2pPr marL="39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9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9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8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83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80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77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73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SA_LOGO_ONLINE_TAGLINE_SPOT_POS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7253" y="4761757"/>
            <a:ext cx="1969008" cy="146304"/>
          </a:xfrm>
          <a:prstGeom prst="rect">
            <a:avLst/>
          </a:prstGeom>
        </p:spPr>
      </p:pic>
      <p:pic>
        <p:nvPicPr>
          <p:cNvPr id="11" name="Picture 10" descr="SA_PRINT_LOGO_MRKT_SPOT_POS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8506" y="246705"/>
            <a:ext cx="1957012" cy="606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6069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av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over_wave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52349"/>
            <a:ext cx="9144000" cy="32125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88" y="1030295"/>
            <a:ext cx="8231187" cy="1215129"/>
          </a:xfrm>
        </p:spPr>
        <p:txBody>
          <a:bodyPr/>
          <a:lstStyle>
            <a:lvl1pPr>
              <a:defRPr sz="4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8789" y="2427690"/>
            <a:ext cx="4113212" cy="513958"/>
          </a:xfrm>
        </p:spPr>
        <p:txBody>
          <a:bodyPr/>
          <a:lstStyle>
            <a:lvl1pPr marL="0" indent="0" algn="l">
              <a:buNone/>
              <a:defRPr sz="1000" b="1" cap="all">
                <a:solidFill>
                  <a:srgbClr val="55565A"/>
                </a:solidFill>
              </a:defRPr>
            </a:lvl1pPr>
            <a:lvl2pPr marL="39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9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9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8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83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80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77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73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SA_LOGO_ONLINE_TAGLINE_SPOT_POS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7253" y="4761757"/>
            <a:ext cx="1969008" cy="146304"/>
          </a:xfrm>
          <a:prstGeom prst="rect">
            <a:avLst/>
          </a:prstGeom>
        </p:spPr>
      </p:pic>
      <p:pic>
        <p:nvPicPr>
          <p:cNvPr id="12" name="Picture 11" descr="SA_PRINT_LOGO_MRKT_SPOT_POS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8506" y="246705"/>
            <a:ext cx="1957012" cy="606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630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3565A"/>
                </a:solidFill>
                <a:latin typeface="Trebuchet MS"/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  <a:endParaRPr dirty="0">
              <a:solidFill>
                <a:srgbClr val="53565A"/>
              </a:solidFill>
              <a:latin typeface="Trebuchet M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9184609-DE06-C39D-6125-78BF418E01FA}"/>
              </a:ext>
            </a:extLst>
          </p:cNvPr>
          <p:cNvSpPr/>
          <p:nvPr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3364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av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0" y="1883664"/>
            <a:ext cx="9144000" cy="3259836"/>
            <a:chOff x="0" y="2511552"/>
            <a:chExt cx="9144000" cy="4346448"/>
          </a:xfrm>
        </p:grpSpPr>
        <p:pic>
          <p:nvPicPr>
            <p:cNvPr id="4" name="Picture 3" descr="cover_wave2.jpg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2511552"/>
              <a:ext cx="9144000" cy="4346448"/>
            </a:xfrm>
            <a:prstGeom prst="rect">
              <a:avLst/>
            </a:prstGeom>
          </p:spPr>
        </p:pic>
        <p:pic>
          <p:nvPicPr>
            <p:cNvPr id="10" name="Picture 9" descr="SA_LOGO_ONLINE_TAGLINE_SPOT_POS.jpg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77253" y="6349009"/>
              <a:ext cx="1969008" cy="195072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88" y="1030295"/>
            <a:ext cx="8231187" cy="1215129"/>
          </a:xfrm>
        </p:spPr>
        <p:txBody>
          <a:bodyPr/>
          <a:lstStyle>
            <a:lvl1pPr>
              <a:defRPr sz="4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8789" y="2427690"/>
            <a:ext cx="4113212" cy="513958"/>
          </a:xfrm>
        </p:spPr>
        <p:txBody>
          <a:bodyPr/>
          <a:lstStyle>
            <a:lvl1pPr marL="0" indent="0" algn="l">
              <a:buNone/>
              <a:defRPr sz="1000" b="1" cap="all">
                <a:solidFill>
                  <a:srgbClr val="55565A"/>
                </a:solidFill>
              </a:defRPr>
            </a:lvl1pPr>
            <a:lvl2pPr marL="39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9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9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8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83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80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77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73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SA_PRINT_LOGO_MRKT_SPOT_POS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8506" y="246705"/>
            <a:ext cx="1957012" cy="606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414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A_PRINT_LOGO_MRKT_SPOT_PO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6132" y="2040397"/>
            <a:ext cx="2474340" cy="766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4247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Divider Re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08109" y="2260540"/>
            <a:ext cx="7772703" cy="1021556"/>
          </a:xfrm>
        </p:spPr>
        <p:txBody>
          <a:bodyPr anchor="t"/>
          <a:lstStyle>
            <a:lvl1pPr algn="l">
              <a:defRPr sz="39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SA_PRINT_LOGO_MRKT_CMYK_NEG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17" r="33320"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F70946C-7F45-BD70-5D96-20D7FB3D3D91}"/>
              </a:ext>
            </a:extLst>
          </p:cNvPr>
          <p:cNvSpPr/>
          <p:nvPr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rgbClr val="535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505263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15" y="205983"/>
            <a:ext cx="8264215" cy="61816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0424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676A6E"/>
                </a:solidFill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676A6E"/>
                </a:solidFill>
              </a:rPr>
              <a:t>Copyright note text (8pt)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2"/>
          </p:nvPr>
        </p:nvSpPr>
        <p:spPr>
          <a:xfrm>
            <a:off x="444809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95451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15" y="205983"/>
            <a:ext cx="8264215" cy="61816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0424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676A6E"/>
                </a:solidFill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676A6E"/>
                </a:solidFill>
              </a:rPr>
              <a:t>Copyright note text (8pt)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2"/>
          </p:nvPr>
        </p:nvSpPr>
        <p:spPr>
          <a:xfrm>
            <a:off x="444809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7573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15" y="205983"/>
            <a:ext cx="8264215" cy="61816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0424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676A6E"/>
                </a:solidFill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676A6E"/>
                </a:solidFill>
              </a:rPr>
              <a:t>Copyright note text (8pt)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2"/>
          </p:nvPr>
        </p:nvSpPr>
        <p:spPr>
          <a:xfrm>
            <a:off x="444809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07319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15" y="205983"/>
            <a:ext cx="8264215" cy="61816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0424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676A6E"/>
                </a:solidFill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676A6E"/>
                </a:solidFill>
              </a:rPr>
              <a:t>Copyright note text (8pt)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2"/>
          </p:nvPr>
        </p:nvSpPr>
        <p:spPr>
          <a:xfrm>
            <a:off x="444809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6444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13" y="206004"/>
            <a:ext cx="8264215" cy="61816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8056" y="1110995"/>
            <a:ext cx="4038600" cy="3429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0424" y="1110995"/>
            <a:ext cx="4038600" cy="3429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3565A"/>
                </a:solidFill>
                <a:latin typeface="Trebuchet MS"/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AED365-7A9C-80EF-F815-B18CD828ADB8}"/>
              </a:ext>
            </a:extLst>
          </p:cNvPr>
          <p:cNvSpPr/>
          <p:nvPr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8806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13" y="206004"/>
            <a:ext cx="8264215" cy="61816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4809" y="1110995"/>
            <a:ext cx="2606040" cy="3429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73897" y="1110995"/>
            <a:ext cx="2606040" cy="3429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3565A"/>
                </a:solidFill>
                <a:latin typeface="Trebuchet MS"/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2"/>
          </p:nvPr>
        </p:nvSpPr>
        <p:spPr>
          <a:xfrm>
            <a:off x="6102984" y="1110995"/>
            <a:ext cx="2606040" cy="3429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D99CD2-F3FB-F2DF-BC51-0C87C5537D18}"/>
              </a:ext>
            </a:extLst>
          </p:cNvPr>
          <p:cNvSpPr/>
          <p:nvPr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9716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21" y="1602988"/>
            <a:ext cx="1779239" cy="2937008"/>
          </a:xfrm>
        </p:spPr>
        <p:txBody>
          <a:bodyPr/>
          <a:lstStyle>
            <a:lvl1pPr marL="96424" indent="-96424">
              <a:spcBef>
                <a:spcPts val="260"/>
              </a:spcBef>
              <a:buFont typeface="+mj-lt"/>
              <a:buAutoNum type="arabicPeriod"/>
              <a:defRPr sz="900">
                <a:solidFill>
                  <a:schemeClr val="tx2"/>
                </a:solidFill>
              </a:defRPr>
            </a:lvl1pPr>
            <a:lvl2pPr marL="96424" indent="0">
              <a:spcBef>
                <a:spcPts val="260"/>
              </a:spcBef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3565A"/>
                </a:solidFill>
                <a:latin typeface="Trebuchet MS"/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2"/>
          </p:nvPr>
        </p:nvSpPr>
        <p:spPr>
          <a:xfrm>
            <a:off x="2242209" y="1110626"/>
            <a:ext cx="6468132" cy="3428855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2EFB076-2764-FF08-FA68-88676532B8DF}"/>
              </a:ext>
            </a:extLst>
          </p:cNvPr>
          <p:cNvSpPr/>
          <p:nvPr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1217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3565A"/>
                </a:solidFill>
                <a:latin typeface="Trebuchet MS"/>
              </a:rPr>
              <a:t>27/10/2014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B9DE76C-DBA5-630F-A667-51248E2F1052}"/>
              </a:ext>
            </a:extLst>
          </p:cNvPr>
          <p:cNvSpPr/>
          <p:nvPr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4433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3565A"/>
                </a:solidFill>
                <a:latin typeface="Trebuchet MS"/>
              </a:rPr>
              <a:t>27/10/2014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B4F713F-215F-5409-786E-8B4009400448}"/>
              </a:ext>
            </a:extLst>
          </p:cNvPr>
          <p:cNvSpPr/>
          <p:nvPr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9169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09" y="192048"/>
            <a:ext cx="8264216" cy="618166"/>
          </a:xfrm>
        </p:spPr>
        <p:txBody>
          <a:bodyPr/>
          <a:lstStyle>
            <a:lvl1pPr>
              <a:defRPr sz="33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4813" y="1110374"/>
            <a:ext cx="8264215" cy="3425028"/>
          </a:xfrm>
        </p:spPr>
        <p:txBody>
          <a:bodyPr/>
          <a:lstStyle>
            <a:lvl1pPr marL="396720" indent="-396720">
              <a:spcBef>
                <a:spcPts val="1215"/>
              </a:spcBef>
              <a:buFont typeface="+mj-lt"/>
              <a:buAutoNum type="arabicPeriod"/>
              <a:defRPr sz="170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Trebuchet MS"/>
              </a:rPr>
              <a:t>27/10/2014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SA_PRINT_LOGO_MRKT_SPOT_POS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628" r="33420"/>
          <a:stretch/>
        </p:blipFill>
        <p:spPr>
          <a:xfrm>
            <a:off x="7670878" y="4719285"/>
            <a:ext cx="1059340" cy="287756"/>
          </a:xfrm>
          <a:prstGeom prst="rect">
            <a:avLst/>
          </a:prstGeom>
        </p:spPr>
      </p:pic>
      <p:pic>
        <p:nvPicPr>
          <p:cNvPr id="4" name="Picture 3" descr="SA_PRINT_LOGO_MRKT_CMYK_NEG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17" r="33320"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5103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98" y="191195"/>
            <a:ext cx="8263247" cy="512589"/>
          </a:xfrm>
        </p:spPr>
        <p:txBody>
          <a:bodyPr anchor="t"/>
          <a:lstStyle>
            <a:lvl1pPr algn="l">
              <a:defRPr sz="33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5798" y="724239"/>
            <a:ext cx="8263247" cy="513385"/>
          </a:xfrm>
        </p:spPr>
        <p:txBody>
          <a:bodyPr anchor="t"/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  <a:lvl2pPr marL="396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934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901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868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8361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80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7705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737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45798" y="2510033"/>
            <a:ext cx="8263247" cy="2152505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7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Trebuchet MS"/>
              </a:rPr>
              <a:t>27/10/2014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SA_PRINT_LOGO_MRKT_CMYK_NEG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17" r="33320"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0278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srgbClr val="53565A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53565A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4813" y="206004"/>
            <a:ext cx="8264215" cy="618166"/>
          </a:xfrm>
          <a:prstGeom prst="rect">
            <a:avLst/>
          </a:prstGeom>
        </p:spPr>
        <p:txBody>
          <a:bodyPr vert="horz" lIns="0" tIns="39673" rIns="0" bIns="39673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4813" y="1110374"/>
            <a:ext cx="8264215" cy="3425028"/>
          </a:xfrm>
          <a:prstGeom prst="rect">
            <a:avLst/>
          </a:prstGeom>
          <a:noFill/>
        </p:spPr>
        <p:txBody>
          <a:bodyPr vert="horz" lIns="0" tIns="39673" rIns="0" bIns="39673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pPr defTabSz="39672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53565A"/>
                </a:solidFill>
                <a:latin typeface="Trebuchet MS"/>
                <a:ea typeface="+mn-ea"/>
                <a:cs typeface="+mn-cs"/>
              </a:rPr>
              <a:t>27/10/2014</a:t>
            </a:r>
            <a:endParaRPr lang="en-US" dirty="0">
              <a:solidFill>
                <a:srgbClr val="53565A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53565A"/>
                </a:solidFill>
                <a:latin typeface="Trebuchet MS"/>
                <a:ea typeface="+mn-ea"/>
                <a:cs typeface="+mn-cs"/>
              </a:rPr>
              <a:t>Copyright note text (8pt)</a:t>
            </a:r>
            <a:endParaRPr lang="en-US" dirty="0">
              <a:solidFill>
                <a:srgbClr val="53565A"/>
              </a:solidFill>
              <a:latin typeface="Trebuchet MS"/>
              <a:ea typeface="+mn-ea"/>
              <a:cs typeface="+mn-cs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gradFill flip="none" rotWithShape="1">
              <a:gsLst>
                <a:gs pos="10000">
                  <a:schemeClr val="bg2"/>
                </a:gs>
                <a:gs pos="90000">
                  <a:schemeClr val="tx2"/>
                </a:gs>
              </a:gsLst>
              <a:lin ang="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SA_PRINT_LOGO_MRKT_SPOT_POS.png"/>
          <p:cNvPicPr>
            <a:picLocks noChangeAspect="1"/>
          </p:cNvPicPr>
          <p:nvPr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628" r="33420"/>
          <a:stretch/>
        </p:blipFill>
        <p:spPr>
          <a:xfrm>
            <a:off x="7670878" y="4719285"/>
            <a:ext cx="1059340" cy="287756"/>
          </a:xfrm>
          <a:prstGeom prst="rect">
            <a:avLst/>
          </a:prstGeom>
        </p:spPr>
      </p:pic>
      <p:sp>
        <p:nvSpPr>
          <p:cNvPr id="6" name="MSIPCMContentMarking" descr="{&quot;HashCode&quot;:170675586,&quot;Placement&quot;:&quot;Footer&quot;,&quot;Top&quot;:378.960144,&quot;Left&quot;:269.451416,&quot;SlideWidth&quot;:720,&quot;SlideHeight&quot;:405}">
            <a:extLst>
              <a:ext uri="{FF2B5EF4-FFF2-40B4-BE49-F238E27FC236}">
                <a16:creationId xmlns:a16="http://schemas.microsoft.com/office/drawing/2014/main" id="{6D91B81C-689A-4E54-8504-FAFEF5A5712C}"/>
              </a:ext>
            </a:extLst>
          </p:cNvPr>
          <p:cNvSpPr txBox="1"/>
          <p:nvPr/>
        </p:nvSpPr>
        <p:spPr>
          <a:xfrm>
            <a:off x="3422033" y="4812794"/>
            <a:ext cx="2299933" cy="33070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8000"/>
                </a:solidFill>
                <a:latin typeface="Calibri" panose="020F0502020204030204" pitchFamily="34" charset="0"/>
              </a:rPr>
              <a:t>Classification: General Us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C76689-FC9E-3A5A-6733-C0007F3449F7}"/>
              </a:ext>
            </a:extLst>
          </p:cNvPr>
          <p:cNvSpPr/>
          <p:nvPr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697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7" r:id="rId1"/>
    <p:sldLayoutId id="2147484098" r:id="rId2"/>
    <p:sldLayoutId id="2147484099" r:id="rId3"/>
    <p:sldLayoutId id="2147484100" r:id="rId4"/>
    <p:sldLayoutId id="2147484101" r:id="rId5"/>
    <p:sldLayoutId id="2147484102" r:id="rId6"/>
    <p:sldLayoutId id="2147484103" r:id="rId7"/>
    <p:sldLayoutId id="2147484104" r:id="rId8"/>
    <p:sldLayoutId id="2147484105" r:id="rId9"/>
    <p:sldLayoutId id="2147484106" r:id="rId10"/>
    <p:sldLayoutId id="2147484107" r:id="rId11"/>
    <p:sldLayoutId id="2147484108" r:id="rId12"/>
    <p:sldLayoutId id="2147484109" r:id="rId13"/>
    <p:sldLayoutId id="2147484110" r:id="rId14"/>
    <p:sldLayoutId id="2147484111" r:id="rId15"/>
    <p:sldLayoutId id="2147484112" r:id="rId16"/>
    <p:sldLayoutId id="2147484113" r:id="rId17"/>
    <p:sldLayoutId id="2147484114" r:id="rId18"/>
    <p:sldLayoutId id="2147484115" r:id="rId19"/>
    <p:sldLayoutId id="2147484116" r:id="rId20"/>
    <p:sldLayoutId id="2147484117" r:id="rId21"/>
    <p:sldLayoutId id="2147484119" r:id="rId22"/>
    <p:sldLayoutId id="2147484120" r:id="rId23"/>
    <p:sldLayoutId id="2147484121" r:id="rId24"/>
    <p:sldLayoutId id="2147484123" r:id="rId25"/>
    <p:sldLayoutId id="2147484124" r:id="rId26"/>
  </p:sldLayoutIdLst>
  <p:hf sldNum="0" hdr="0" ftr="0" dt="0"/>
  <p:txStyles>
    <p:titleStyle>
      <a:lvl1pPr algn="l" defTabSz="396720" rtl="0" eaLnBrk="1" latinLnBrk="0" hangingPunct="1">
        <a:spcBef>
          <a:spcPct val="0"/>
        </a:spcBef>
        <a:buNone/>
        <a:defRPr sz="21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9738" indent="-199738" algn="l" defTabSz="396720" rtl="0" eaLnBrk="1" latinLnBrk="0" hangingPunct="1">
        <a:spcBef>
          <a:spcPts val="521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3968" indent="-194226" algn="l" defTabSz="396720" rtl="0" eaLnBrk="1" latinLnBrk="0" hangingPunct="1">
        <a:spcBef>
          <a:spcPts val="521"/>
        </a:spcBef>
        <a:buFont typeface="Lucida Grande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3707" indent="-199738" algn="l" defTabSz="396720" rtl="0" eaLnBrk="1" latinLnBrk="0" hangingPunct="1">
        <a:spcBef>
          <a:spcPts val="521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93444" indent="-199738" algn="l" defTabSz="396720" rtl="0" eaLnBrk="1" latinLnBrk="0" hangingPunct="1">
        <a:spcBef>
          <a:spcPts val="521"/>
        </a:spcBef>
        <a:buFont typeface="Lucida Grande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93184" indent="-199738" algn="l" defTabSz="396720" rtl="0" eaLnBrk="1" latinLnBrk="0" hangingPunct="1">
        <a:spcBef>
          <a:spcPts val="521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181975" indent="-198361" algn="l" defTabSz="396720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697" indent="-198361" algn="l" defTabSz="396720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75422" indent="-198361" algn="l" defTabSz="396720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72142" indent="-198361" algn="l" defTabSz="396720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96720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93444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90168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6888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83613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80337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77058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73780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sibo/xtbdft" TargetMode="External"/><Relationship Id="rId3" Type="http://schemas.openxmlformats.org/officeDocument/2006/relationships/image" Target="../media/image54.png"/><Relationship Id="rId7" Type="http://schemas.openxmlformats.org/officeDocument/2006/relationships/image" Target="../media/image45.emf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55.emf"/><Relationship Id="rId4" Type="http://schemas.openxmlformats.org/officeDocument/2006/relationships/oleObject" Target="../embeddings/oleObject36.bin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oleObject" Target="../embeddings/oleObject42.bin"/><Relationship Id="rId18" Type="http://schemas.openxmlformats.org/officeDocument/2006/relationships/image" Target="../media/image63.emf"/><Relationship Id="rId26" Type="http://schemas.openxmlformats.org/officeDocument/2006/relationships/image" Target="../media/image67.emf"/><Relationship Id="rId3" Type="http://schemas.openxmlformats.org/officeDocument/2006/relationships/oleObject" Target="../embeddings/oleObject37.bin"/><Relationship Id="rId21" Type="http://schemas.openxmlformats.org/officeDocument/2006/relationships/oleObject" Target="../embeddings/oleObject46.bin"/><Relationship Id="rId34" Type="http://schemas.openxmlformats.org/officeDocument/2006/relationships/image" Target="../media/image45.emf"/><Relationship Id="rId7" Type="http://schemas.openxmlformats.org/officeDocument/2006/relationships/oleObject" Target="../embeddings/oleObject39.bin"/><Relationship Id="rId12" Type="http://schemas.openxmlformats.org/officeDocument/2006/relationships/image" Target="../media/image60.emf"/><Relationship Id="rId17" Type="http://schemas.openxmlformats.org/officeDocument/2006/relationships/oleObject" Target="../embeddings/oleObject44.bin"/><Relationship Id="rId25" Type="http://schemas.openxmlformats.org/officeDocument/2006/relationships/oleObject" Target="../embeddings/oleObject48.bin"/><Relationship Id="rId33" Type="http://schemas.openxmlformats.org/officeDocument/2006/relationships/oleObject" Target="../embeddings/oleObject30.bin"/><Relationship Id="rId2" Type="http://schemas.openxmlformats.org/officeDocument/2006/relationships/chart" Target="../charts/chart1.xml"/><Relationship Id="rId16" Type="http://schemas.openxmlformats.org/officeDocument/2006/relationships/image" Target="../media/image62.emf"/><Relationship Id="rId20" Type="http://schemas.openxmlformats.org/officeDocument/2006/relationships/image" Target="../media/image64.emf"/><Relationship Id="rId29" Type="http://schemas.openxmlformats.org/officeDocument/2006/relationships/oleObject" Target="../embeddings/oleObject50.bin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emf"/><Relationship Id="rId11" Type="http://schemas.openxmlformats.org/officeDocument/2006/relationships/oleObject" Target="../embeddings/oleObject41.bin"/><Relationship Id="rId24" Type="http://schemas.openxmlformats.org/officeDocument/2006/relationships/image" Target="../media/image66.emf"/><Relationship Id="rId32" Type="http://schemas.openxmlformats.org/officeDocument/2006/relationships/image" Target="../media/image70.emf"/><Relationship Id="rId5" Type="http://schemas.openxmlformats.org/officeDocument/2006/relationships/oleObject" Target="../embeddings/oleObject38.bin"/><Relationship Id="rId15" Type="http://schemas.openxmlformats.org/officeDocument/2006/relationships/oleObject" Target="../embeddings/oleObject43.bin"/><Relationship Id="rId23" Type="http://schemas.openxmlformats.org/officeDocument/2006/relationships/oleObject" Target="../embeddings/oleObject47.bin"/><Relationship Id="rId28" Type="http://schemas.openxmlformats.org/officeDocument/2006/relationships/image" Target="../media/image68.emf"/><Relationship Id="rId10" Type="http://schemas.openxmlformats.org/officeDocument/2006/relationships/image" Target="../media/image59.emf"/><Relationship Id="rId19" Type="http://schemas.openxmlformats.org/officeDocument/2006/relationships/oleObject" Target="../embeddings/oleObject45.bin"/><Relationship Id="rId31" Type="http://schemas.openxmlformats.org/officeDocument/2006/relationships/oleObject" Target="../embeddings/oleObject51.bin"/><Relationship Id="rId4" Type="http://schemas.openxmlformats.org/officeDocument/2006/relationships/image" Target="../media/image56.emf"/><Relationship Id="rId9" Type="http://schemas.openxmlformats.org/officeDocument/2006/relationships/oleObject" Target="../embeddings/oleObject40.bin"/><Relationship Id="rId14" Type="http://schemas.openxmlformats.org/officeDocument/2006/relationships/image" Target="../media/image61.emf"/><Relationship Id="rId22" Type="http://schemas.openxmlformats.org/officeDocument/2006/relationships/image" Target="../media/image65.emf"/><Relationship Id="rId27" Type="http://schemas.openxmlformats.org/officeDocument/2006/relationships/oleObject" Target="../embeddings/oleObject49.bin"/><Relationship Id="rId30" Type="http://schemas.openxmlformats.org/officeDocument/2006/relationships/image" Target="../media/image69.emf"/><Relationship Id="rId8" Type="http://schemas.openxmlformats.org/officeDocument/2006/relationships/image" Target="../media/image58.emf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oleObject" Target="../embeddings/oleObject57.bin"/><Relationship Id="rId18" Type="http://schemas.openxmlformats.org/officeDocument/2006/relationships/image" Target="../media/image63.emf"/><Relationship Id="rId26" Type="http://schemas.openxmlformats.org/officeDocument/2006/relationships/image" Target="../media/image67.emf"/><Relationship Id="rId3" Type="http://schemas.openxmlformats.org/officeDocument/2006/relationships/oleObject" Target="../embeddings/oleObject52.bin"/><Relationship Id="rId21" Type="http://schemas.openxmlformats.org/officeDocument/2006/relationships/oleObject" Target="../embeddings/oleObject61.bin"/><Relationship Id="rId34" Type="http://schemas.openxmlformats.org/officeDocument/2006/relationships/image" Target="../media/image45.emf"/><Relationship Id="rId7" Type="http://schemas.openxmlformats.org/officeDocument/2006/relationships/oleObject" Target="../embeddings/oleObject54.bin"/><Relationship Id="rId12" Type="http://schemas.openxmlformats.org/officeDocument/2006/relationships/image" Target="../media/image60.emf"/><Relationship Id="rId17" Type="http://schemas.openxmlformats.org/officeDocument/2006/relationships/oleObject" Target="../embeddings/oleObject59.bin"/><Relationship Id="rId25" Type="http://schemas.openxmlformats.org/officeDocument/2006/relationships/oleObject" Target="../embeddings/oleObject63.bin"/><Relationship Id="rId33" Type="http://schemas.openxmlformats.org/officeDocument/2006/relationships/oleObject" Target="../embeddings/oleObject30.bin"/><Relationship Id="rId2" Type="http://schemas.openxmlformats.org/officeDocument/2006/relationships/chart" Target="../charts/chart2.xml"/><Relationship Id="rId16" Type="http://schemas.openxmlformats.org/officeDocument/2006/relationships/image" Target="../media/image62.emf"/><Relationship Id="rId20" Type="http://schemas.openxmlformats.org/officeDocument/2006/relationships/image" Target="../media/image64.emf"/><Relationship Id="rId29" Type="http://schemas.openxmlformats.org/officeDocument/2006/relationships/oleObject" Target="../embeddings/oleObject65.bin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emf"/><Relationship Id="rId11" Type="http://schemas.openxmlformats.org/officeDocument/2006/relationships/oleObject" Target="../embeddings/oleObject56.bin"/><Relationship Id="rId24" Type="http://schemas.openxmlformats.org/officeDocument/2006/relationships/image" Target="../media/image66.emf"/><Relationship Id="rId32" Type="http://schemas.openxmlformats.org/officeDocument/2006/relationships/image" Target="../media/image70.emf"/><Relationship Id="rId5" Type="http://schemas.openxmlformats.org/officeDocument/2006/relationships/oleObject" Target="../embeddings/oleObject53.bin"/><Relationship Id="rId15" Type="http://schemas.openxmlformats.org/officeDocument/2006/relationships/oleObject" Target="../embeddings/oleObject58.bin"/><Relationship Id="rId23" Type="http://schemas.openxmlformats.org/officeDocument/2006/relationships/oleObject" Target="../embeddings/oleObject62.bin"/><Relationship Id="rId28" Type="http://schemas.openxmlformats.org/officeDocument/2006/relationships/image" Target="../media/image68.emf"/><Relationship Id="rId10" Type="http://schemas.openxmlformats.org/officeDocument/2006/relationships/image" Target="../media/image59.emf"/><Relationship Id="rId19" Type="http://schemas.openxmlformats.org/officeDocument/2006/relationships/oleObject" Target="../embeddings/oleObject60.bin"/><Relationship Id="rId31" Type="http://schemas.openxmlformats.org/officeDocument/2006/relationships/oleObject" Target="../embeddings/oleObject66.bin"/><Relationship Id="rId4" Type="http://schemas.openxmlformats.org/officeDocument/2006/relationships/image" Target="../media/image56.emf"/><Relationship Id="rId9" Type="http://schemas.openxmlformats.org/officeDocument/2006/relationships/oleObject" Target="../embeddings/oleObject55.bin"/><Relationship Id="rId14" Type="http://schemas.openxmlformats.org/officeDocument/2006/relationships/image" Target="../media/image61.emf"/><Relationship Id="rId22" Type="http://schemas.openxmlformats.org/officeDocument/2006/relationships/image" Target="../media/image65.emf"/><Relationship Id="rId27" Type="http://schemas.openxmlformats.org/officeDocument/2006/relationships/oleObject" Target="../embeddings/oleObject64.bin"/><Relationship Id="rId30" Type="http://schemas.openxmlformats.org/officeDocument/2006/relationships/image" Target="../media/image69.emf"/><Relationship Id="rId8" Type="http://schemas.openxmlformats.org/officeDocument/2006/relationships/image" Target="../media/image58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8.bin"/><Relationship Id="rId13" Type="http://schemas.openxmlformats.org/officeDocument/2006/relationships/image" Target="../media/image73.emf"/><Relationship Id="rId18" Type="http://schemas.openxmlformats.org/officeDocument/2006/relationships/image" Target="../media/image76.png"/><Relationship Id="rId3" Type="http://schemas.openxmlformats.org/officeDocument/2006/relationships/slideLayout" Target="../slideLayouts/slideLayout23.xml"/><Relationship Id="rId21" Type="http://schemas.openxmlformats.org/officeDocument/2006/relationships/oleObject" Target="../embeddings/oleObject74.bin"/><Relationship Id="rId7" Type="http://schemas.openxmlformats.org/officeDocument/2006/relationships/image" Target="../media/image37.gif"/><Relationship Id="rId12" Type="http://schemas.openxmlformats.org/officeDocument/2006/relationships/oleObject" Target="../embeddings/oleObject70.bin"/><Relationship Id="rId17" Type="http://schemas.openxmlformats.org/officeDocument/2006/relationships/image" Target="../media/image75.emf"/><Relationship Id="rId2" Type="http://schemas.openxmlformats.org/officeDocument/2006/relationships/tags" Target="../tags/tag8.xml"/><Relationship Id="rId16" Type="http://schemas.openxmlformats.org/officeDocument/2006/relationships/oleObject" Target="../embeddings/oleObject72.bin"/><Relationship Id="rId20" Type="http://schemas.openxmlformats.org/officeDocument/2006/relationships/image" Target="../media/image77.emf"/><Relationship Id="rId1" Type="http://schemas.openxmlformats.org/officeDocument/2006/relationships/tags" Target="../tags/tag7.xml"/><Relationship Id="rId6" Type="http://schemas.openxmlformats.org/officeDocument/2006/relationships/image" Target="../media/image30.emf"/><Relationship Id="rId11" Type="http://schemas.openxmlformats.org/officeDocument/2006/relationships/image" Target="../media/image72.emf"/><Relationship Id="rId5" Type="http://schemas.openxmlformats.org/officeDocument/2006/relationships/oleObject" Target="../embeddings/oleObject67.bin"/><Relationship Id="rId15" Type="http://schemas.openxmlformats.org/officeDocument/2006/relationships/image" Target="../media/image74.emf"/><Relationship Id="rId10" Type="http://schemas.openxmlformats.org/officeDocument/2006/relationships/oleObject" Target="../embeddings/oleObject69.bin"/><Relationship Id="rId19" Type="http://schemas.openxmlformats.org/officeDocument/2006/relationships/oleObject" Target="../embeddings/oleObject73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71.emf"/><Relationship Id="rId14" Type="http://schemas.openxmlformats.org/officeDocument/2006/relationships/oleObject" Target="../embeddings/oleObject71.bin"/><Relationship Id="rId22" Type="http://schemas.openxmlformats.org/officeDocument/2006/relationships/image" Target="../media/image45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9.bin"/><Relationship Id="rId3" Type="http://schemas.openxmlformats.org/officeDocument/2006/relationships/image" Target="../media/image39.emf"/><Relationship Id="rId7" Type="http://schemas.openxmlformats.org/officeDocument/2006/relationships/image" Target="../media/image70.emf"/><Relationship Id="rId12" Type="http://schemas.openxmlformats.org/officeDocument/2006/relationships/image" Target="../media/image71.emf"/><Relationship Id="rId2" Type="http://schemas.openxmlformats.org/officeDocument/2006/relationships/oleObject" Target="../embeddings/oleObject75.bin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66.bin"/><Relationship Id="rId11" Type="http://schemas.openxmlformats.org/officeDocument/2006/relationships/oleObject" Target="../embeddings/oleObject68.bin"/><Relationship Id="rId5" Type="http://schemas.openxmlformats.org/officeDocument/2006/relationships/image" Target="../media/image62.emf"/><Relationship Id="rId10" Type="http://schemas.openxmlformats.org/officeDocument/2006/relationships/image" Target="../media/image37.gif"/><Relationship Id="rId4" Type="http://schemas.openxmlformats.org/officeDocument/2006/relationships/oleObject" Target="../embeddings/oleObject58.bin"/><Relationship Id="rId9" Type="http://schemas.openxmlformats.org/officeDocument/2006/relationships/image" Target="../media/image63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emf"/><Relationship Id="rId13" Type="http://schemas.openxmlformats.org/officeDocument/2006/relationships/oleObject" Target="../embeddings/oleObject81.bin"/><Relationship Id="rId3" Type="http://schemas.openxmlformats.org/officeDocument/2006/relationships/oleObject" Target="../embeddings/oleObject76.bin"/><Relationship Id="rId7" Type="http://schemas.openxmlformats.org/officeDocument/2006/relationships/oleObject" Target="../embeddings/oleObject78.bin"/><Relationship Id="rId12" Type="http://schemas.openxmlformats.org/officeDocument/2006/relationships/image" Target="../media/image41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79.emf"/><Relationship Id="rId11" Type="http://schemas.openxmlformats.org/officeDocument/2006/relationships/oleObject" Target="../embeddings/oleObject80.bin"/><Relationship Id="rId5" Type="http://schemas.openxmlformats.org/officeDocument/2006/relationships/oleObject" Target="../embeddings/oleObject77.bin"/><Relationship Id="rId10" Type="http://schemas.openxmlformats.org/officeDocument/2006/relationships/image" Target="../media/image81.emf"/><Relationship Id="rId4" Type="http://schemas.openxmlformats.org/officeDocument/2006/relationships/image" Target="../media/image78.emf"/><Relationship Id="rId9" Type="http://schemas.openxmlformats.org/officeDocument/2006/relationships/oleObject" Target="../embeddings/oleObject79.bin"/><Relationship Id="rId14" Type="http://schemas.openxmlformats.org/officeDocument/2006/relationships/image" Target="../media/image82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83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0.emf"/><Relationship Id="rId11" Type="http://schemas.openxmlformats.org/officeDocument/2006/relationships/image" Target="../media/image71.emf"/><Relationship Id="rId5" Type="http://schemas.openxmlformats.org/officeDocument/2006/relationships/oleObject" Target="../embeddings/oleObject82.bin"/><Relationship Id="rId10" Type="http://schemas.openxmlformats.org/officeDocument/2006/relationships/oleObject" Target="../embeddings/oleObject83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7.gi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5.bin"/><Relationship Id="rId13" Type="http://schemas.openxmlformats.org/officeDocument/2006/relationships/image" Target="../media/image87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37.gif"/><Relationship Id="rId12" Type="http://schemas.openxmlformats.org/officeDocument/2006/relationships/image" Target="../media/image86.emf"/><Relationship Id="rId17" Type="http://schemas.openxmlformats.org/officeDocument/2006/relationships/chart" Target="../charts/chart4.xml"/><Relationship Id="rId2" Type="http://schemas.openxmlformats.org/officeDocument/2006/relationships/tags" Target="../tags/tag12.xml"/><Relationship Id="rId16" Type="http://schemas.openxmlformats.org/officeDocument/2006/relationships/chart" Target="../charts/chart3.xml"/><Relationship Id="rId1" Type="http://schemas.openxmlformats.org/officeDocument/2006/relationships/tags" Target="../tags/tag11.xml"/><Relationship Id="rId6" Type="http://schemas.openxmlformats.org/officeDocument/2006/relationships/image" Target="../media/image30.emf"/><Relationship Id="rId11" Type="http://schemas.openxmlformats.org/officeDocument/2006/relationships/oleObject" Target="../embeddings/oleObject86.bin"/><Relationship Id="rId5" Type="http://schemas.openxmlformats.org/officeDocument/2006/relationships/oleObject" Target="../embeddings/oleObject84.bin"/><Relationship Id="rId15" Type="http://schemas.openxmlformats.org/officeDocument/2006/relationships/image" Target="../media/image88.emf"/><Relationship Id="rId10" Type="http://schemas.openxmlformats.org/officeDocument/2006/relationships/image" Target="../media/image85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71.emf"/><Relationship Id="rId14" Type="http://schemas.openxmlformats.org/officeDocument/2006/relationships/oleObject" Target="../embeddings/oleObject87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13" Type="http://schemas.openxmlformats.org/officeDocument/2006/relationships/oleObject" Target="../embeddings/oleObject6.bin"/><Relationship Id="rId18" Type="http://schemas.openxmlformats.org/officeDocument/2006/relationships/image" Target="../media/image21.png"/><Relationship Id="rId3" Type="http://schemas.openxmlformats.org/officeDocument/2006/relationships/image" Target="../media/image11.emf"/><Relationship Id="rId7" Type="http://schemas.openxmlformats.org/officeDocument/2006/relationships/oleObject" Target="../embeddings/oleObject3.bin"/><Relationship Id="rId12" Type="http://schemas.openxmlformats.org/officeDocument/2006/relationships/image" Target="../media/image16.emf"/><Relationship Id="rId17" Type="http://schemas.openxmlformats.org/officeDocument/2006/relationships/image" Target="../media/image20.jpeg"/><Relationship Id="rId2" Type="http://schemas.openxmlformats.org/officeDocument/2006/relationships/oleObject" Target="../embeddings/oleObject1.bin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11" Type="http://schemas.openxmlformats.org/officeDocument/2006/relationships/oleObject" Target="../embeddings/oleObject5.bin"/><Relationship Id="rId5" Type="http://schemas.openxmlformats.org/officeDocument/2006/relationships/image" Target="../media/image12.emf"/><Relationship Id="rId15" Type="http://schemas.openxmlformats.org/officeDocument/2006/relationships/image" Target="../media/image18.jpeg"/><Relationship Id="rId10" Type="http://schemas.openxmlformats.org/officeDocument/2006/relationships/image" Target="../media/image15.emf"/><Relationship Id="rId4" Type="http://schemas.openxmlformats.org/officeDocument/2006/relationships/oleObject" Target="../embeddings/oleObject2.bin"/><Relationship Id="rId9" Type="http://schemas.openxmlformats.org/officeDocument/2006/relationships/oleObject" Target="../embeddings/oleObject4.bin"/><Relationship Id="rId14" Type="http://schemas.openxmlformats.org/officeDocument/2006/relationships/image" Target="../media/image17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30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82.bin"/><Relationship Id="rId5" Type="http://schemas.openxmlformats.org/officeDocument/2006/relationships/image" Target="../media/image89.png"/><Relationship Id="rId4" Type="http://schemas.openxmlformats.org/officeDocument/2006/relationships/notesSlide" Target="../notesSlides/notesSlide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4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20.jpeg"/><Relationship Id="rId12" Type="http://schemas.openxmlformats.org/officeDocument/2006/relationships/image" Target="../media/image23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11" Type="http://schemas.openxmlformats.org/officeDocument/2006/relationships/oleObject" Target="../embeddings/oleObject9.bin"/><Relationship Id="rId5" Type="http://schemas.openxmlformats.org/officeDocument/2006/relationships/image" Target="../media/image18.jpeg"/><Relationship Id="rId10" Type="http://schemas.openxmlformats.org/officeDocument/2006/relationships/image" Target="../media/image22.emf"/><Relationship Id="rId4" Type="http://schemas.openxmlformats.org/officeDocument/2006/relationships/image" Target="../media/image11.emf"/><Relationship Id="rId9" Type="http://schemas.openxmlformats.org/officeDocument/2006/relationships/oleObject" Target="../embeddings/oleObject8.bin"/><Relationship Id="rId1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emf"/><Relationship Id="rId3" Type="http://schemas.openxmlformats.org/officeDocument/2006/relationships/oleObject" Target="../embeddings/oleObject10.bin"/><Relationship Id="rId7" Type="http://schemas.openxmlformats.org/officeDocument/2006/relationships/package" Target="../embeddings/Microsoft_Excel_Worksheet.xlsx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8.emf"/><Relationship Id="rId5" Type="http://schemas.openxmlformats.org/officeDocument/2006/relationships/image" Target="../media/image27.emf"/><Relationship Id="rId4" Type="http://schemas.openxmlformats.org/officeDocument/2006/relationships/image" Target="../media/image26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13" Type="http://schemas.openxmlformats.org/officeDocument/2006/relationships/oleObject" Target="../embeddings/oleObject15.bin"/><Relationship Id="rId18" Type="http://schemas.openxmlformats.org/officeDocument/2006/relationships/oleObject" Target="../embeddings/oleObject19.bin"/><Relationship Id="rId26" Type="http://schemas.openxmlformats.org/officeDocument/2006/relationships/image" Target="../media/image39.emf"/><Relationship Id="rId3" Type="http://schemas.openxmlformats.org/officeDocument/2006/relationships/slideLayout" Target="../slideLayouts/slideLayout6.xml"/><Relationship Id="rId21" Type="http://schemas.openxmlformats.org/officeDocument/2006/relationships/image" Target="../media/image36.emf"/><Relationship Id="rId7" Type="http://schemas.openxmlformats.org/officeDocument/2006/relationships/oleObject" Target="../embeddings/oleObject12.bin"/><Relationship Id="rId12" Type="http://schemas.openxmlformats.org/officeDocument/2006/relationships/image" Target="../media/image33.emf"/><Relationship Id="rId17" Type="http://schemas.openxmlformats.org/officeDocument/2006/relationships/oleObject" Target="../embeddings/oleObject18.bin"/><Relationship Id="rId25" Type="http://schemas.openxmlformats.org/officeDocument/2006/relationships/oleObject" Target="../embeddings/oleObject22.bin"/><Relationship Id="rId2" Type="http://schemas.openxmlformats.org/officeDocument/2006/relationships/tags" Target="../tags/tag2.xml"/><Relationship Id="rId16" Type="http://schemas.openxmlformats.org/officeDocument/2006/relationships/image" Target="../media/image34.emf"/><Relationship Id="rId20" Type="http://schemas.openxmlformats.org/officeDocument/2006/relationships/oleObject" Target="../embeddings/oleObject20.bin"/><Relationship Id="rId1" Type="http://schemas.openxmlformats.org/officeDocument/2006/relationships/tags" Target="../tags/tag1.xml"/><Relationship Id="rId6" Type="http://schemas.openxmlformats.org/officeDocument/2006/relationships/image" Target="../media/image30.emf"/><Relationship Id="rId11" Type="http://schemas.openxmlformats.org/officeDocument/2006/relationships/oleObject" Target="../embeddings/oleObject14.bin"/><Relationship Id="rId24" Type="http://schemas.openxmlformats.org/officeDocument/2006/relationships/image" Target="../media/image38.emf"/><Relationship Id="rId5" Type="http://schemas.openxmlformats.org/officeDocument/2006/relationships/oleObject" Target="../embeddings/oleObject11.bin"/><Relationship Id="rId15" Type="http://schemas.openxmlformats.org/officeDocument/2006/relationships/oleObject" Target="../embeddings/oleObject17.bin"/><Relationship Id="rId23" Type="http://schemas.openxmlformats.org/officeDocument/2006/relationships/oleObject" Target="../embeddings/oleObject21.bin"/><Relationship Id="rId10" Type="http://schemas.openxmlformats.org/officeDocument/2006/relationships/image" Target="../media/image32.emf"/><Relationship Id="rId19" Type="http://schemas.openxmlformats.org/officeDocument/2006/relationships/image" Target="../media/image35.emf"/><Relationship Id="rId4" Type="http://schemas.openxmlformats.org/officeDocument/2006/relationships/notesSlide" Target="../notesSlides/notesSlide3.xml"/><Relationship Id="rId9" Type="http://schemas.openxmlformats.org/officeDocument/2006/relationships/oleObject" Target="../embeddings/oleObject13.bin"/><Relationship Id="rId14" Type="http://schemas.openxmlformats.org/officeDocument/2006/relationships/oleObject" Target="../embeddings/oleObject16.bin"/><Relationship Id="rId22" Type="http://schemas.openxmlformats.org/officeDocument/2006/relationships/image" Target="../media/image37.gi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13" Type="http://schemas.openxmlformats.org/officeDocument/2006/relationships/image" Target="../media/image43.emf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30.emf"/><Relationship Id="rId12" Type="http://schemas.openxmlformats.org/officeDocument/2006/relationships/oleObject" Target="../embeddings/oleObject26.bin"/><Relationship Id="rId17" Type="http://schemas.openxmlformats.org/officeDocument/2006/relationships/image" Target="../media/image45.emf"/><Relationship Id="rId2" Type="http://schemas.openxmlformats.org/officeDocument/2006/relationships/tags" Target="../tags/tag4.xml"/><Relationship Id="rId16" Type="http://schemas.openxmlformats.org/officeDocument/2006/relationships/oleObject" Target="../embeddings/oleObject28.bin"/><Relationship Id="rId1" Type="http://schemas.openxmlformats.org/officeDocument/2006/relationships/tags" Target="../tags/tag3.xml"/><Relationship Id="rId6" Type="http://schemas.openxmlformats.org/officeDocument/2006/relationships/oleObject" Target="../embeddings/oleObject23.bin"/><Relationship Id="rId11" Type="http://schemas.openxmlformats.org/officeDocument/2006/relationships/image" Target="../media/image42.emf"/><Relationship Id="rId5" Type="http://schemas.openxmlformats.org/officeDocument/2006/relationships/image" Target="../media/image40.png"/><Relationship Id="rId15" Type="http://schemas.openxmlformats.org/officeDocument/2006/relationships/image" Target="../media/image44.emf"/><Relationship Id="rId10" Type="http://schemas.openxmlformats.org/officeDocument/2006/relationships/oleObject" Target="../embeddings/oleObject25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41.emf"/><Relationship Id="rId14" Type="http://schemas.openxmlformats.org/officeDocument/2006/relationships/oleObject" Target="../embeddings/oleObject2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oleObject" Target="../embeddings/oleObject29.bin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emf"/><Relationship Id="rId4" Type="http://schemas.openxmlformats.org/officeDocument/2006/relationships/oleObject" Target="../embeddings/oleObject30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emf"/><Relationship Id="rId13" Type="http://schemas.openxmlformats.org/officeDocument/2006/relationships/oleObject" Target="../embeddings/oleObject34.bin"/><Relationship Id="rId3" Type="http://schemas.openxmlformats.org/officeDocument/2006/relationships/slideLayout" Target="../slideLayouts/slideLayout25.xml"/><Relationship Id="rId7" Type="http://schemas.openxmlformats.org/officeDocument/2006/relationships/oleObject" Target="../embeddings/oleObject32.bin"/><Relationship Id="rId12" Type="http://schemas.openxmlformats.org/officeDocument/2006/relationships/image" Target="../media/image50.emf"/><Relationship Id="rId17" Type="http://schemas.openxmlformats.org/officeDocument/2006/relationships/image" Target="../media/image45.emf"/><Relationship Id="rId2" Type="http://schemas.openxmlformats.org/officeDocument/2006/relationships/tags" Target="../tags/tag6.xml"/><Relationship Id="rId16" Type="http://schemas.openxmlformats.org/officeDocument/2006/relationships/oleObject" Target="../embeddings/oleObject30.bin"/><Relationship Id="rId1" Type="http://schemas.openxmlformats.org/officeDocument/2006/relationships/tags" Target="../tags/tag5.xml"/><Relationship Id="rId6" Type="http://schemas.openxmlformats.org/officeDocument/2006/relationships/image" Target="../media/image30.emf"/><Relationship Id="rId11" Type="http://schemas.openxmlformats.org/officeDocument/2006/relationships/oleObject" Target="../embeddings/oleObject33.bin"/><Relationship Id="rId5" Type="http://schemas.openxmlformats.org/officeDocument/2006/relationships/oleObject" Target="../embeddings/oleObject31.bin"/><Relationship Id="rId15" Type="http://schemas.openxmlformats.org/officeDocument/2006/relationships/hyperlink" Target="https://github.com/sibo/xtbdft" TargetMode="External"/><Relationship Id="rId10" Type="http://schemas.openxmlformats.org/officeDocument/2006/relationships/image" Target="../media/image49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48.jpeg"/><Relationship Id="rId14" Type="http://schemas.openxmlformats.org/officeDocument/2006/relationships/image" Target="../media/image5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oleObject" Target="../embeddings/oleObject35.bin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emf"/><Relationship Id="rId5" Type="http://schemas.openxmlformats.org/officeDocument/2006/relationships/oleObject" Target="../embeddings/oleObject30.bin"/><Relationship Id="rId4" Type="http://schemas.openxmlformats.org/officeDocument/2006/relationships/hyperlink" Target="https://github.com/sibo/xtbdft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A6EF13-B433-9B2A-7690-46AE549ECF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800" dirty="0"/>
              <a:t>Digital Chemistry Guided Development of Novel Ligands for Selective Ethylene Tetrameriz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ACC487-458E-E6ED-29D6-D65975E1FE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88" y="2196825"/>
            <a:ext cx="7459527" cy="513958"/>
          </a:xfrm>
        </p:spPr>
        <p:txBody>
          <a:bodyPr/>
          <a:lstStyle/>
          <a:p>
            <a:pPr marL="0" marR="0" hangingPunct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ibo Lin</a:t>
            </a:r>
            <a:r>
              <a:rPr lang="en-US" b="1" baseline="300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1</a:t>
            </a:r>
            <a:r>
              <a:rPr lang="en-US" b="1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, Mohamed Elanany</a:t>
            </a:r>
            <a:r>
              <a:rPr lang="en-US" b="1" baseline="300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2</a:t>
            </a:r>
            <a:r>
              <a:rPr lang="en-US" b="1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, Motaz Khawaji</a:t>
            </a:r>
            <a:r>
              <a:rPr lang="en-US" b="1" baseline="300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2</a:t>
            </a:r>
            <a:r>
              <a:rPr lang="en-US" b="1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, Wei Xu</a:t>
            </a:r>
            <a:r>
              <a:rPr lang="en-US" b="1" baseline="300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2</a:t>
            </a:r>
            <a:r>
              <a:rPr lang="en-US" b="1" baseline="-250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en-US" b="1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E. A. Jasser</a:t>
            </a:r>
            <a:r>
              <a:rPr lang="en-US" b="1" baseline="300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3</a:t>
            </a:r>
            <a:r>
              <a:rPr lang="en-US" b="1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, Samir Barman</a:t>
            </a:r>
            <a:r>
              <a:rPr lang="en-US" b="1" baseline="300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3</a:t>
            </a:r>
            <a:r>
              <a:rPr lang="en-US" b="1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and Nestor Garcia</a:t>
            </a:r>
            <a:r>
              <a:rPr lang="en-US" b="1" baseline="300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3</a:t>
            </a:r>
            <a:endParaRPr lang="en-US" b="1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hangingPunct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89A7221-AF42-2B7D-91CF-2FAC27A9A779}"/>
              </a:ext>
            </a:extLst>
          </p:cNvPr>
          <p:cNvSpPr txBox="1"/>
          <p:nvPr/>
        </p:nvSpPr>
        <p:spPr>
          <a:xfrm>
            <a:off x="1386238" y="3083668"/>
            <a:ext cx="184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E21CDF9-633C-DE4D-3BBF-ADE530F0B900}"/>
              </a:ext>
            </a:extLst>
          </p:cNvPr>
          <p:cNvSpPr txBox="1"/>
          <p:nvPr/>
        </p:nvSpPr>
        <p:spPr>
          <a:xfrm>
            <a:off x="262971" y="2470592"/>
            <a:ext cx="7459527" cy="5052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indent="-91440" algn="l" hangingPunct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800" baseline="300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1</a:t>
            </a:r>
            <a:r>
              <a:rPr lang="en-AU" sz="8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Aramco Services Company: Aramco Research </a:t>
            </a:r>
            <a:r>
              <a:rPr lang="en-AU" sz="800" dirty="0" err="1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Center</a:t>
            </a:r>
            <a:r>
              <a:rPr lang="en-AU" sz="8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– Boston, Catalysis Technology Group, Cambridge, MA, USA</a:t>
            </a:r>
            <a:endParaRPr lang="en-US" sz="800" dirty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28600" marR="0" indent="-91440" algn="l" hangingPunct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800" baseline="300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2 </a:t>
            </a:r>
            <a:r>
              <a:rPr lang="en-AU" sz="8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audi Aramco: Aramco Research </a:t>
            </a:r>
            <a:r>
              <a:rPr lang="en-AU" sz="800" dirty="0" err="1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Center</a:t>
            </a:r>
            <a:r>
              <a:rPr lang="en-AU" sz="8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– KAUST, Fuels and Chemicals R&amp;D Division, </a:t>
            </a:r>
            <a:r>
              <a:rPr lang="en-AU" sz="800" dirty="0" err="1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Thuwal</a:t>
            </a:r>
            <a:r>
              <a:rPr lang="en-AU" sz="8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, Saudi Arabia</a:t>
            </a:r>
            <a:endParaRPr lang="en-US" sz="800" dirty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28600" marR="0" indent="-91440" algn="l" hangingPunct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800" baseline="300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3 </a:t>
            </a:r>
            <a:r>
              <a:rPr lang="en-AU" sz="800" dirty="0" err="1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Center</a:t>
            </a:r>
            <a:r>
              <a:rPr lang="en-AU" sz="8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for Refining and Advanced Chemicals, King Fahd University of Petroleum and Minerals, Dhahran 31261, Saudi Arabia</a:t>
            </a:r>
            <a:endParaRPr lang="en-US" sz="800" dirty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0AE6373-C1C0-D75A-EBDE-D90221FA064E}"/>
              </a:ext>
            </a:extLst>
          </p:cNvPr>
          <p:cNvSpPr txBox="1"/>
          <p:nvPr/>
        </p:nvSpPr>
        <p:spPr>
          <a:xfrm>
            <a:off x="369651" y="532686"/>
            <a:ext cx="4572000" cy="4314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l" hangingPunct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31</a:t>
            </a:r>
            <a:r>
              <a:rPr lang="en-US" baseline="300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t</a:t>
            </a:r>
            <a:r>
              <a:rPr lang="en-US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Annual Saudi-Japan Symposium</a:t>
            </a:r>
          </a:p>
          <a:p>
            <a:pPr marL="0" marR="0" algn="l" hangingPunct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Dec 2022</a:t>
            </a:r>
          </a:p>
        </p:txBody>
      </p:sp>
    </p:spTree>
    <p:extLst>
      <p:ext uri="{BB962C8B-B14F-4D97-AF65-F5344CB8AC3E}">
        <p14:creationId xmlns:p14="http://schemas.microsoft.com/office/powerpoint/2010/main" val="33956664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CD662861-4CBA-27FC-DDA5-C178F348B93C}"/>
              </a:ext>
            </a:extLst>
          </p:cNvPr>
          <p:cNvGrpSpPr/>
          <p:nvPr/>
        </p:nvGrpSpPr>
        <p:grpSpPr>
          <a:xfrm>
            <a:off x="5726083" y="797494"/>
            <a:ext cx="2982945" cy="3228811"/>
            <a:chOff x="5726083" y="797494"/>
            <a:chExt cx="2982945" cy="3228811"/>
          </a:xfrm>
        </p:grpSpPr>
        <p:pic>
          <p:nvPicPr>
            <p:cNvPr id="5" name="Content Placeholder 5">
              <a:extLst>
                <a:ext uri="{FF2B5EF4-FFF2-40B4-BE49-F238E27FC236}">
                  <a16:creationId xmlns:a16="http://schemas.microsoft.com/office/drawing/2014/main" id="{01AD9C29-A5E2-4A03-BEA4-7820CB638767}"/>
                </a:ext>
              </a:extLst>
            </p:cNvPr>
            <p:cNvPicPr>
              <a:picLocks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50" t="2194" r="2593" b="4845"/>
            <a:stretch/>
          </p:blipFill>
          <p:spPr bwMode="auto">
            <a:xfrm>
              <a:off x="5901533" y="1475986"/>
              <a:ext cx="2807495" cy="2550319"/>
            </a:xfrm>
            <a:prstGeom prst="rect">
              <a:avLst/>
            </a:prstGeom>
            <a:noFill/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B2DDC4E-4268-438C-9475-A0A44B5CDE97}"/>
                </a:ext>
              </a:extLst>
            </p:cNvPr>
            <p:cNvSpPr/>
            <p:nvPr/>
          </p:nvSpPr>
          <p:spPr>
            <a:xfrm>
              <a:off x="5726083" y="797494"/>
              <a:ext cx="350900" cy="40737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/>
                <a:t>c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F5E40B7-199A-DBBA-360B-9EE653D67B86}"/>
                </a:ext>
              </a:extLst>
            </p:cNvPr>
            <p:cNvSpPr txBox="1"/>
            <p:nvPr/>
          </p:nvSpPr>
          <p:spPr>
            <a:xfrm>
              <a:off x="6382826" y="1777041"/>
              <a:ext cx="190818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GFN2-XTB can help screen the lowest energy conformer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DCB103F-5D65-F0CA-4D56-E4507BBA4900}"/>
              </a:ext>
            </a:extLst>
          </p:cNvPr>
          <p:cNvGrpSpPr/>
          <p:nvPr/>
        </p:nvGrpSpPr>
        <p:grpSpPr>
          <a:xfrm>
            <a:off x="3081225" y="797494"/>
            <a:ext cx="2568382" cy="3078042"/>
            <a:chOff x="3081225" y="797494"/>
            <a:chExt cx="2568382" cy="3078042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6EFBB913-D3B1-4F96-A8A7-974ABE8D22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216" t="1833"/>
            <a:stretch/>
          </p:blipFill>
          <p:spPr>
            <a:xfrm>
              <a:off x="3286103" y="956541"/>
              <a:ext cx="2363504" cy="2918995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F9946C1-F487-4347-A87D-7F9118F52FD8}"/>
                </a:ext>
              </a:extLst>
            </p:cNvPr>
            <p:cNvSpPr/>
            <p:nvPr/>
          </p:nvSpPr>
          <p:spPr>
            <a:xfrm>
              <a:off x="3081225" y="797494"/>
              <a:ext cx="350900" cy="40737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/>
                <a:t>b</a:t>
              </a: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ACCBC015-070A-41DE-8D0A-9B851D0A6F1A}"/>
              </a:ext>
            </a:extLst>
          </p:cNvPr>
          <p:cNvSpPr/>
          <p:nvPr/>
        </p:nvSpPr>
        <p:spPr>
          <a:xfrm>
            <a:off x="179951" y="797494"/>
            <a:ext cx="350900" cy="40737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a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86E4811-CF37-A72B-A4F6-B08B51846329}"/>
              </a:ext>
            </a:extLst>
          </p:cNvPr>
          <p:cNvGrpSpPr/>
          <p:nvPr/>
        </p:nvGrpSpPr>
        <p:grpSpPr>
          <a:xfrm>
            <a:off x="1806267" y="1316624"/>
            <a:ext cx="1199492" cy="660472"/>
            <a:chOff x="1806267" y="1316624"/>
            <a:chExt cx="1199492" cy="660472"/>
          </a:xfrm>
        </p:grpSpPr>
        <p:sp>
          <p:nvSpPr>
            <p:cNvPr id="9" name="Arrow: Curved Left 8">
              <a:extLst>
                <a:ext uri="{FF2B5EF4-FFF2-40B4-BE49-F238E27FC236}">
                  <a16:creationId xmlns:a16="http://schemas.microsoft.com/office/drawing/2014/main" id="{1FEEA812-C77F-4D78-8B40-5B3ECE29A745}"/>
                </a:ext>
              </a:extLst>
            </p:cNvPr>
            <p:cNvSpPr/>
            <p:nvPr/>
          </p:nvSpPr>
          <p:spPr>
            <a:xfrm>
              <a:off x="1806267" y="1316624"/>
              <a:ext cx="350442" cy="660472"/>
            </a:xfrm>
            <a:prstGeom prst="curvedLeftArrow">
              <a:avLst/>
            </a:prstGeom>
            <a:solidFill>
              <a:srgbClr val="4472C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03F4AB6-2A17-476F-ADF9-2C5F3F189AD4}"/>
                </a:ext>
              </a:extLst>
            </p:cNvPr>
            <p:cNvSpPr txBox="1"/>
            <p:nvPr/>
          </p:nvSpPr>
          <p:spPr>
            <a:xfrm>
              <a:off x="2045334" y="1371452"/>
              <a:ext cx="960425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reaction coordinate scan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B4C0B99-6097-6575-05D1-CC6A740E2966}"/>
              </a:ext>
            </a:extLst>
          </p:cNvPr>
          <p:cNvGrpSpPr/>
          <p:nvPr/>
        </p:nvGrpSpPr>
        <p:grpSpPr>
          <a:xfrm>
            <a:off x="1813318" y="2261114"/>
            <a:ext cx="1147437" cy="660472"/>
            <a:chOff x="1813318" y="2261114"/>
            <a:chExt cx="1147437" cy="660472"/>
          </a:xfrm>
        </p:grpSpPr>
        <p:sp>
          <p:nvSpPr>
            <p:cNvPr id="10" name="Arrow: Curved Left 9">
              <a:extLst>
                <a:ext uri="{FF2B5EF4-FFF2-40B4-BE49-F238E27FC236}">
                  <a16:creationId xmlns:a16="http://schemas.microsoft.com/office/drawing/2014/main" id="{277344C7-F5DE-4BAF-B88C-AE7918BE6B6B}"/>
                </a:ext>
              </a:extLst>
            </p:cNvPr>
            <p:cNvSpPr/>
            <p:nvPr/>
          </p:nvSpPr>
          <p:spPr>
            <a:xfrm>
              <a:off x="1813318" y="2261114"/>
              <a:ext cx="350442" cy="660472"/>
            </a:xfrm>
            <a:prstGeom prst="curvedLeftArrow">
              <a:avLst/>
            </a:prstGeom>
            <a:solidFill>
              <a:srgbClr val="4472C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7E29877-2A0F-4DE2-B860-C9648349668A}"/>
                </a:ext>
              </a:extLst>
            </p:cNvPr>
            <p:cNvSpPr txBox="1"/>
            <p:nvPr/>
          </p:nvSpPr>
          <p:spPr>
            <a:xfrm>
              <a:off x="2090338" y="2391295"/>
              <a:ext cx="87041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reaction path finder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D7F456F-D27F-D00C-DACB-D19E7655C114}"/>
              </a:ext>
            </a:extLst>
          </p:cNvPr>
          <p:cNvGrpSpPr/>
          <p:nvPr/>
        </p:nvGrpSpPr>
        <p:grpSpPr>
          <a:xfrm>
            <a:off x="1806267" y="3257250"/>
            <a:ext cx="1154488" cy="660472"/>
            <a:chOff x="1806267" y="3257250"/>
            <a:chExt cx="1154488" cy="660472"/>
          </a:xfrm>
        </p:grpSpPr>
        <p:sp>
          <p:nvSpPr>
            <p:cNvPr id="11" name="Arrow: Curved Left 10">
              <a:extLst>
                <a:ext uri="{FF2B5EF4-FFF2-40B4-BE49-F238E27FC236}">
                  <a16:creationId xmlns:a16="http://schemas.microsoft.com/office/drawing/2014/main" id="{65C9552A-1E9A-4E9A-93C0-F38B34026215}"/>
                </a:ext>
              </a:extLst>
            </p:cNvPr>
            <p:cNvSpPr/>
            <p:nvPr/>
          </p:nvSpPr>
          <p:spPr>
            <a:xfrm>
              <a:off x="1806267" y="3257250"/>
              <a:ext cx="350442" cy="660472"/>
            </a:xfrm>
            <a:prstGeom prst="curvedLeftArrow">
              <a:avLst/>
            </a:prstGeom>
            <a:solidFill>
              <a:srgbClr val="4472C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28B30DB-BE61-40B7-84D6-1346377713ED}"/>
                </a:ext>
              </a:extLst>
            </p:cNvPr>
            <p:cNvSpPr txBox="1"/>
            <p:nvPr/>
          </p:nvSpPr>
          <p:spPr>
            <a:xfrm>
              <a:off x="2090338" y="3281955"/>
              <a:ext cx="87041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constrained conformer search</a:t>
              </a:r>
            </a:p>
          </p:txBody>
        </p:sp>
      </p:grpSp>
      <p:graphicFrame>
        <p:nvGraphicFramePr>
          <p:cNvPr id="15" name="Object 14">
            <a:extLst>
              <a:ext uri="{FF2B5EF4-FFF2-40B4-BE49-F238E27FC236}">
                <a16:creationId xmlns:a16="http://schemas.microsoft.com/office/drawing/2014/main" id="{A1166D83-3FA7-4D2C-835B-3D29DEE28BA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83169" y="797494"/>
          <a:ext cx="1230149" cy="37379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4" imgW="1522207" imgH="4626641" progId="ChemDraw.Document.6.0">
                  <p:embed/>
                </p:oleObj>
              </mc:Choice>
              <mc:Fallback>
                <p:oleObj name="CS ChemDraw Drawing" r:id="rId4" imgW="1522207" imgH="4626641" progId="ChemDraw.Document.6.0">
                  <p:embed/>
                  <p:pic>
                    <p:nvPicPr>
                      <p:cNvPr id="15" name="Object 14">
                        <a:extLst>
                          <a:ext uri="{FF2B5EF4-FFF2-40B4-BE49-F238E27FC236}">
                            <a16:creationId xmlns:a16="http://schemas.microsoft.com/office/drawing/2014/main" id="{A1166D83-3FA7-4D2C-835B-3D29DEE28B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83169" y="797494"/>
                        <a:ext cx="1230149" cy="37379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Arrow: Right 20">
            <a:extLst>
              <a:ext uri="{FF2B5EF4-FFF2-40B4-BE49-F238E27FC236}">
                <a16:creationId xmlns:a16="http://schemas.microsoft.com/office/drawing/2014/main" id="{862E3E70-D0BC-E7CE-CD83-988EE774610D}"/>
              </a:ext>
            </a:extLst>
          </p:cNvPr>
          <p:cNvSpPr/>
          <p:nvPr/>
        </p:nvSpPr>
        <p:spPr>
          <a:xfrm rot="1664629" flipH="1">
            <a:off x="4656861" y="3220148"/>
            <a:ext cx="1908013" cy="1075697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69 conformers within 6 kcal/mol window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AAA1237-30B1-6A47-CCD5-A93AC6C98736}"/>
              </a:ext>
            </a:extLst>
          </p:cNvPr>
          <p:cNvSpPr txBox="1"/>
          <p:nvPr/>
        </p:nvSpPr>
        <p:spPr>
          <a:xfrm>
            <a:off x="1865636" y="4361969"/>
            <a:ext cx="6082114" cy="246221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Lowest energy conformer found by XTBDFT is 1.1 kcal/mol lower than that found by McGuinness</a:t>
            </a: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66746F9C-CF0C-B170-EF5C-51148F38AD9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53467" y="94182"/>
          <a:ext cx="617221" cy="6079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6" imgW="1052493" imgH="1037428" progId="ChemDraw.Document.6.0">
                  <p:embed/>
                </p:oleObj>
              </mc:Choice>
              <mc:Fallback>
                <p:oleObj name="CS ChemDraw Drawing" r:id="rId6" imgW="1052493" imgH="1037428" progId="ChemDraw.Document.6.0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66746F9C-CF0C-B170-EF5C-51148F38AD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53467" y="94182"/>
                        <a:ext cx="617221" cy="6079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">
            <a:extLst>
              <a:ext uri="{FF2B5EF4-FFF2-40B4-BE49-F238E27FC236}">
                <a16:creationId xmlns:a16="http://schemas.microsoft.com/office/drawing/2014/main" id="{E5BC5B2E-49EF-3575-BBD1-0BDBA35322E4}"/>
              </a:ext>
            </a:extLst>
          </p:cNvPr>
          <p:cNvSpPr txBox="1">
            <a:spLocks/>
          </p:cNvSpPr>
          <p:nvPr/>
        </p:nvSpPr>
        <p:spPr>
          <a:xfrm>
            <a:off x="1227287" y="206004"/>
            <a:ext cx="7481741" cy="618166"/>
          </a:xfrm>
          <a:prstGeom prst="rect">
            <a:avLst/>
          </a:prstGeom>
        </p:spPr>
        <p:txBody>
          <a:bodyPr vert="horz" lIns="0" tIns="39673" rIns="0" bIns="39673" rtlCol="0" anchor="t">
            <a:noAutofit/>
          </a:bodyPr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XTBDFT Case Study: Ethylene Insertion Transition Stat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054254F-6F47-9C6B-B2A7-0282B061DCDD}"/>
              </a:ext>
            </a:extLst>
          </p:cNvPr>
          <p:cNvSpPr/>
          <p:nvPr/>
        </p:nvSpPr>
        <p:spPr>
          <a:xfrm>
            <a:off x="8237220" y="1777041"/>
            <a:ext cx="266700" cy="20005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CE64CD-FF93-AD4B-293D-1DE93FF70E1B}"/>
              </a:ext>
            </a:extLst>
          </p:cNvPr>
          <p:cNvSpPr/>
          <p:nvPr/>
        </p:nvSpPr>
        <p:spPr>
          <a:xfrm>
            <a:off x="594360" y="4660972"/>
            <a:ext cx="7164977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900" dirty="0"/>
              <a:t>Lin, S.; Fromer, J. C.; Ghosh, Y.; Hanna, B.; Elanany, M.; Xu, W. </a:t>
            </a:r>
            <a:r>
              <a:rPr lang="en-US" sz="900" i="1" dirty="0"/>
              <a:t>Sci. Rep.</a:t>
            </a:r>
            <a:r>
              <a:rPr lang="en-US" sz="900" dirty="0"/>
              <a:t> </a:t>
            </a:r>
            <a:r>
              <a:rPr lang="en-US" sz="900" b="1" dirty="0"/>
              <a:t>2021</a:t>
            </a:r>
            <a:r>
              <a:rPr lang="en-US" sz="900" dirty="0"/>
              <a:t>, </a:t>
            </a:r>
            <a:r>
              <a:rPr lang="en-US" sz="900" i="1" dirty="0"/>
              <a:t>11</a:t>
            </a:r>
            <a:r>
              <a:rPr lang="en-US" sz="900" dirty="0"/>
              <a:t>, 4534</a:t>
            </a:r>
          </a:p>
          <a:p>
            <a:pPr algn="l"/>
            <a:r>
              <a:rPr lang="en-US" sz="900" dirty="0"/>
              <a:t>Lin, S.; Elanany, M.; Khawaji, M. </a:t>
            </a:r>
            <a:r>
              <a:rPr lang="en-US" sz="900" i="1" dirty="0" err="1"/>
              <a:t>SoftwareX</a:t>
            </a:r>
            <a:r>
              <a:rPr lang="en-US" sz="900" dirty="0"/>
              <a:t> </a:t>
            </a:r>
            <a:r>
              <a:rPr lang="en-US" sz="900" b="1" dirty="0"/>
              <a:t>2022</a:t>
            </a:r>
            <a:r>
              <a:rPr lang="en-US" sz="900" dirty="0"/>
              <a:t>, </a:t>
            </a:r>
            <a:r>
              <a:rPr lang="en-US" sz="900" i="1" dirty="0"/>
              <a:t>20</a:t>
            </a:r>
            <a:r>
              <a:rPr lang="en-US" sz="900" dirty="0"/>
              <a:t>, 101242</a:t>
            </a:r>
          </a:p>
          <a:p>
            <a:pPr algn="l"/>
            <a:r>
              <a:rPr lang="en-US" sz="900" dirty="0"/>
              <a:t>Code and Tutorials at: </a:t>
            </a:r>
            <a:r>
              <a:rPr lang="en-US" sz="900" dirty="0">
                <a:hlinkClick r:id="rId8"/>
              </a:rPr>
              <a:t>https://github.com/sibo/xtbdft</a:t>
            </a:r>
            <a:r>
              <a:rPr lang="en-US" sz="9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96895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21" grpId="0" animBg="1"/>
      <p:bldP spid="2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Chart 55">
            <a:extLst>
              <a:ext uri="{FF2B5EF4-FFF2-40B4-BE49-F238E27FC236}">
                <a16:creationId xmlns:a16="http://schemas.microsoft.com/office/drawing/2014/main" id="{06ED2A9F-BE9D-429D-89C4-F6B059B2C1F3}"/>
              </a:ext>
            </a:extLst>
          </p:cNvPr>
          <p:cNvGraphicFramePr>
            <a:graphicFrameLocks/>
          </p:cNvGraphicFramePr>
          <p:nvPr/>
        </p:nvGraphicFramePr>
        <p:xfrm>
          <a:off x="288143" y="812987"/>
          <a:ext cx="8567714" cy="3517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676F119-8E53-44B5-A52A-0546F53E2F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8681" y="206004"/>
            <a:ext cx="7590347" cy="618166"/>
          </a:xfrm>
        </p:spPr>
        <p:txBody>
          <a:bodyPr/>
          <a:lstStyle/>
          <a:p>
            <a:r>
              <a:rPr lang="en-US" dirty="0"/>
              <a:t>Mechanism: Rate-Limiting Step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D450CDE-B2E4-4F4B-BF95-8BCE1DF9096E}"/>
              </a:ext>
            </a:extLst>
          </p:cNvPr>
          <p:cNvSpPr txBox="1"/>
          <p:nvPr/>
        </p:nvSpPr>
        <p:spPr>
          <a:xfrm>
            <a:off x="608351" y="4814385"/>
            <a:ext cx="6869188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Computational details: </a:t>
            </a:r>
            <a:r>
              <a:rPr lang="en-US" dirty="0" err="1"/>
              <a:t>NWChem</a:t>
            </a:r>
            <a:r>
              <a:rPr lang="en-US" dirty="0"/>
              <a:t> 6.8, M06-D3/def2-TZVP//B3LYP-D3/def2-SVP + solvation energy (M06-D3/def2-SVP)</a:t>
            </a:r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D84CF033-3D42-4665-8F4B-75D83B188F5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450432" y="2684277"/>
          <a:ext cx="487363" cy="552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" imgW="487321" imgH="552702" progId="ChemDraw.Document.6.0">
                  <p:embed/>
                </p:oleObj>
              </mc:Choice>
              <mc:Fallback>
                <p:oleObj name="CS ChemDraw Drawing" r:id="rId3" imgW="487321" imgH="552702" progId="ChemDraw.Document.6.0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D84CF033-3D42-4665-8F4B-75D83B188F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50432" y="2684277"/>
                        <a:ext cx="487363" cy="552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AA2E4F48-4D56-499A-90D7-C73461631EC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711712" y="934454"/>
          <a:ext cx="385763" cy="59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5" imgW="385124" imgH="597148" progId="ChemDraw.Document.6.0">
                  <p:embed/>
                </p:oleObj>
              </mc:Choice>
              <mc:Fallback>
                <p:oleObj name="CS ChemDraw Drawing" r:id="rId5" imgW="385124" imgH="597148" progId="ChemDraw.Document.6.0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AA2E4F48-4D56-499A-90D7-C73461631E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712" y="934454"/>
                        <a:ext cx="385763" cy="59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0F9887A-136E-4EF7-833B-01DA7E84821E}"/>
              </a:ext>
            </a:extLst>
          </p:cNvPr>
          <p:cNvCxnSpPr>
            <a:cxnSpLocks/>
          </p:cNvCxnSpPr>
          <p:nvPr/>
        </p:nvCxnSpPr>
        <p:spPr>
          <a:xfrm flipV="1">
            <a:off x="1761582" y="1204438"/>
            <a:ext cx="502944" cy="1367312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1801AD5-7BA2-4856-B398-ED4DA06B261A}"/>
              </a:ext>
            </a:extLst>
          </p:cNvPr>
          <p:cNvCxnSpPr>
            <a:cxnSpLocks/>
          </p:cNvCxnSpPr>
          <p:nvPr/>
        </p:nvCxnSpPr>
        <p:spPr>
          <a:xfrm flipH="1" flipV="1">
            <a:off x="2438531" y="1204438"/>
            <a:ext cx="450719" cy="63961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ABBE9A6-3851-4F32-93F9-0C470F1A5DD3}"/>
              </a:ext>
            </a:extLst>
          </p:cNvPr>
          <p:cNvCxnSpPr>
            <a:cxnSpLocks/>
          </p:cNvCxnSpPr>
          <p:nvPr/>
        </p:nvCxnSpPr>
        <p:spPr>
          <a:xfrm flipH="1" flipV="1">
            <a:off x="3039942" y="1270000"/>
            <a:ext cx="477958" cy="427273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5D9DE66-D204-4315-BD50-79E7F3434E18}"/>
              </a:ext>
            </a:extLst>
          </p:cNvPr>
          <p:cNvCxnSpPr>
            <a:cxnSpLocks/>
          </p:cNvCxnSpPr>
          <p:nvPr/>
        </p:nvCxnSpPr>
        <p:spPr>
          <a:xfrm flipV="1">
            <a:off x="3667232" y="1268399"/>
            <a:ext cx="498368" cy="428874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Object 27">
            <a:extLst>
              <a:ext uri="{FF2B5EF4-FFF2-40B4-BE49-F238E27FC236}">
                <a16:creationId xmlns:a16="http://schemas.microsoft.com/office/drawing/2014/main" id="{DB42E3DC-2B0C-44C4-8F6F-8A51C7CDAFA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775903" y="616585"/>
          <a:ext cx="387350" cy="59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7" imgW="386917" imgH="597148" progId="ChemDraw.Document.6.0">
                  <p:embed/>
                </p:oleObj>
              </mc:Choice>
              <mc:Fallback>
                <p:oleObj name="CS ChemDraw Drawing" r:id="rId7" imgW="386917" imgH="597148" progId="ChemDraw.Document.6.0">
                  <p:embed/>
                  <p:pic>
                    <p:nvPicPr>
                      <p:cNvPr id="28" name="Object 27">
                        <a:extLst>
                          <a:ext uri="{FF2B5EF4-FFF2-40B4-BE49-F238E27FC236}">
                            <a16:creationId xmlns:a16="http://schemas.microsoft.com/office/drawing/2014/main" id="{DB42E3DC-2B0C-44C4-8F6F-8A51C7CDAF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775903" y="616585"/>
                        <a:ext cx="387350" cy="59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" name="Object 28">
            <a:extLst>
              <a:ext uri="{FF2B5EF4-FFF2-40B4-BE49-F238E27FC236}">
                <a16:creationId xmlns:a16="http://schemas.microsoft.com/office/drawing/2014/main" id="{22BD608C-7BB6-49E3-8A90-0A54609FBC2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075138" y="1659315"/>
          <a:ext cx="490537" cy="59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9" imgW="490549" imgH="597148" progId="ChemDraw.Document.6.0">
                  <p:embed/>
                </p:oleObj>
              </mc:Choice>
              <mc:Fallback>
                <p:oleObj name="CS ChemDraw Drawing" r:id="rId9" imgW="490549" imgH="597148" progId="ChemDraw.Document.6.0">
                  <p:embed/>
                  <p:pic>
                    <p:nvPicPr>
                      <p:cNvPr id="29" name="Object 28">
                        <a:extLst>
                          <a:ext uri="{FF2B5EF4-FFF2-40B4-BE49-F238E27FC236}">
                            <a16:creationId xmlns:a16="http://schemas.microsoft.com/office/drawing/2014/main" id="{22BD608C-7BB6-49E3-8A90-0A54609FBC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075138" y="1659315"/>
                        <a:ext cx="490537" cy="59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0" name="Object 29">
            <a:extLst>
              <a:ext uri="{FF2B5EF4-FFF2-40B4-BE49-F238E27FC236}">
                <a16:creationId xmlns:a16="http://schemas.microsoft.com/office/drawing/2014/main" id="{56E654FC-30B5-4BB2-90CF-23C42459F6C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791141" y="644957"/>
          <a:ext cx="473075" cy="6302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1" imgW="473336" imgH="630482" progId="ChemDraw.Document.6.0">
                  <p:embed/>
                </p:oleObj>
              </mc:Choice>
              <mc:Fallback>
                <p:oleObj name="CS ChemDraw Drawing" r:id="rId11" imgW="473336" imgH="630482" progId="ChemDraw.Document.6.0">
                  <p:embed/>
                  <p:pic>
                    <p:nvPicPr>
                      <p:cNvPr id="30" name="Object 29">
                        <a:extLst>
                          <a:ext uri="{FF2B5EF4-FFF2-40B4-BE49-F238E27FC236}">
                            <a16:creationId xmlns:a16="http://schemas.microsoft.com/office/drawing/2014/main" id="{56E654FC-30B5-4BB2-90CF-23C42459F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791141" y="644957"/>
                        <a:ext cx="473075" cy="6302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81C62AE-F467-44E5-96B1-7B7E1CFA356A}"/>
              </a:ext>
            </a:extLst>
          </p:cNvPr>
          <p:cNvCxnSpPr>
            <a:cxnSpLocks/>
          </p:cNvCxnSpPr>
          <p:nvPr/>
        </p:nvCxnSpPr>
        <p:spPr>
          <a:xfrm>
            <a:off x="4325389" y="1232904"/>
            <a:ext cx="460995" cy="1351764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C1EA66D-0E3C-48B7-8570-154B54C8F3A0}"/>
              </a:ext>
            </a:extLst>
          </p:cNvPr>
          <p:cNvCxnSpPr>
            <a:cxnSpLocks/>
          </p:cNvCxnSpPr>
          <p:nvPr/>
        </p:nvCxnSpPr>
        <p:spPr>
          <a:xfrm flipH="1">
            <a:off x="4962865" y="2088758"/>
            <a:ext cx="1142543" cy="482991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7F0BE24-05E3-4DD8-B5ED-8E4ACDD6EFCA}"/>
              </a:ext>
            </a:extLst>
          </p:cNvPr>
          <p:cNvCxnSpPr>
            <a:cxnSpLocks/>
          </p:cNvCxnSpPr>
          <p:nvPr/>
        </p:nvCxnSpPr>
        <p:spPr>
          <a:xfrm flipH="1" flipV="1">
            <a:off x="4962866" y="2590801"/>
            <a:ext cx="477864" cy="320675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4808B1C-4542-4DC9-8F0F-EC6020E1548A}"/>
              </a:ext>
            </a:extLst>
          </p:cNvPr>
          <p:cNvCxnSpPr>
            <a:cxnSpLocks/>
          </p:cNvCxnSpPr>
          <p:nvPr/>
        </p:nvCxnSpPr>
        <p:spPr>
          <a:xfrm flipH="1">
            <a:off x="5596984" y="2526506"/>
            <a:ext cx="484729" cy="38497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5" name="Object 44">
            <a:extLst>
              <a:ext uri="{FF2B5EF4-FFF2-40B4-BE49-F238E27FC236}">
                <a16:creationId xmlns:a16="http://schemas.microsoft.com/office/drawing/2014/main" id="{EFF2A683-B8D0-48A3-8192-73D4EAFB0CD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609579" y="2697554"/>
          <a:ext cx="461963" cy="715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3" imgW="461503" imgH="715789" progId="ChemDraw.Document.6.0">
                  <p:embed/>
                </p:oleObj>
              </mc:Choice>
              <mc:Fallback>
                <p:oleObj name="CS ChemDraw Drawing" r:id="rId13" imgW="461503" imgH="715789" progId="ChemDraw.Document.6.0">
                  <p:embed/>
                  <p:pic>
                    <p:nvPicPr>
                      <p:cNvPr id="45" name="Object 44">
                        <a:extLst>
                          <a:ext uri="{FF2B5EF4-FFF2-40B4-BE49-F238E27FC236}">
                            <a16:creationId xmlns:a16="http://schemas.microsoft.com/office/drawing/2014/main" id="{EFF2A683-B8D0-48A3-8192-73D4EAFB0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4609579" y="2697554"/>
                        <a:ext cx="461963" cy="715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6" name="Object 45">
            <a:extLst>
              <a:ext uri="{FF2B5EF4-FFF2-40B4-BE49-F238E27FC236}">
                <a16:creationId xmlns:a16="http://schemas.microsoft.com/office/drawing/2014/main" id="{DC16A046-FC87-41F2-B377-EC6F0CC308A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932288" y="1269999"/>
          <a:ext cx="460375" cy="715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5" imgW="461144" imgH="715789" progId="ChemDraw.Document.6.0">
                  <p:embed/>
                </p:oleObj>
              </mc:Choice>
              <mc:Fallback>
                <p:oleObj name="CS ChemDraw Drawing" r:id="rId15" imgW="461144" imgH="715789" progId="ChemDraw.Document.6.0">
                  <p:embed/>
                  <p:pic>
                    <p:nvPicPr>
                      <p:cNvPr id="46" name="Object 45">
                        <a:extLst>
                          <a:ext uri="{FF2B5EF4-FFF2-40B4-BE49-F238E27FC236}">
                            <a16:creationId xmlns:a16="http://schemas.microsoft.com/office/drawing/2014/main" id="{DC16A046-FC87-41F2-B377-EC6F0CC30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5932288" y="1269999"/>
                        <a:ext cx="460375" cy="715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7" name="Object 46">
            <a:extLst>
              <a:ext uri="{FF2B5EF4-FFF2-40B4-BE49-F238E27FC236}">
                <a16:creationId xmlns:a16="http://schemas.microsoft.com/office/drawing/2014/main" id="{02C28917-036F-4712-BC9B-BDAFE86D382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957400" y="2592201"/>
          <a:ext cx="546100" cy="76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7" imgW="546488" imgH="761668" progId="ChemDraw.Document.6.0">
                  <p:embed/>
                </p:oleObj>
              </mc:Choice>
              <mc:Fallback>
                <p:oleObj name="CS ChemDraw Drawing" r:id="rId17" imgW="546488" imgH="761668" progId="ChemDraw.Document.6.0">
                  <p:embed/>
                  <p:pic>
                    <p:nvPicPr>
                      <p:cNvPr id="47" name="Object 46">
                        <a:extLst>
                          <a:ext uri="{FF2B5EF4-FFF2-40B4-BE49-F238E27FC236}">
                            <a16:creationId xmlns:a16="http://schemas.microsoft.com/office/drawing/2014/main" id="{02C28917-036F-4712-BC9B-BDAFE86D38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5957400" y="2592201"/>
                        <a:ext cx="546100" cy="762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8" name="Object 47">
            <a:extLst>
              <a:ext uri="{FF2B5EF4-FFF2-40B4-BE49-F238E27FC236}">
                <a16:creationId xmlns:a16="http://schemas.microsoft.com/office/drawing/2014/main" id="{BB8B7A6F-AE6F-44CA-9DB3-BD3A83508E3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266032" y="3036137"/>
          <a:ext cx="563563" cy="715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9" imgW="563342" imgH="715789" progId="ChemDraw.Document.6.0">
                  <p:embed/>
                </p:oleObj>
              </mc:Choice>
              <mc:Fallback>
                <p:oleObj name="CS ChemDraw Drawing" r:id="rId19" imgW="563342" imgH="715789" progId="ChemDraw.Document.6.0">
                  <p:embed/>
                  <p:pic>
                    <p:nvPicPr>
                      <p:cNvPr id="48" name="Object 47">
                        <a:extLst>
                          <a:ext uri="{FF2B5EF4-FFF2-40B4-BE49-F238E27FC236}">
                            <a16:creationId xmlns:a16="http://schemas.microsoft.com/office/drawing/2014/main" id="{BB8B7A6F-AE6F-44CA-9DB3-BD3A83508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5266032" y="3036137"/>
                        <a:ext cx="563563" cy="715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" name="Object 50">
            <a:extLst>
              <a:ext uri="{FF2B5EF4-FFF2-40B4-BE49-F238E27FC236}">
                <a16:creationId xmlns:a16="http://schemas.microsoft.com/office/drawing/2014/main" id="{4BC099AE-4115-4950-9658-2DC8638B5DF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460202" y="3495573"/>
          <a:ext cx="579437" cy="835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1" imgW="578761" imgH="834788" progId="ChemDraw.Document.6.0">
                  <p:embed/>
                </p:oleObj>
              </mc:Choice>
              <mc:Fallback>
                <p:oleObj name="CS ChemDraw Drawing" r:id="rId21" imgW="578761" imgH="834788" progId="ChemDraw.Document.6.0">
                  <p:embed/>
                  <p:pic>
                    <p:nvPicPr>
                      <p:cNvPr id="51" name="Object 50">
                        <a:extLst>
                          <a:ext uri="{FF2B5EF4-FFF2-40B4-BE49-F238E27FC236}">
                            <a16:creationId xmlns:a16="http://schemas.microsoft.com/office/drawing/2014/main" id="{4BC099AE-4115-4950-9658-2DC8638B5D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6460202" y="3495573"/>
                        <a:ext cx="579437" cy="835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2" name="Object 51">
            <a:extLst>
              <a:ext uri="{FF2B5EF4-FFF2-40B4-BE49-F238E27FC236}">
                <a16:creationId xmlns:a16="http://schemas.microsoft.com/office/drawing/2014/main" id="{59468AFA-E1AD-4ACC-907F-38FB854D35C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462364" y="2783246"/>
          <a:ext cx="579437" cy="835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3" imgW="578761" imgH="834788" progId="ChemDraw.Document.6.0">
                  <p:embed/>
                </p:oleObj>
              </mc:Choice>
              <mc:Fallback>
                <p:oleObj name="CS ChemDraw Drawing" r:id="rId23" imgW="578761" imgH="834788" progId="ChemDraw.Document.6.0">
                  <p:embed/>
                  <p:pic>
                    <p:nvPicPr>
                      <p:cNvPr id="52" name="Object 51">
                        <a:extLst>
                          <a:ext uri="{FF2B5EF4-FFF2-40B4-BE49-F238E27FC236}">
                            <a16:creationId xmlns:a16="http://schemas.microsoft.com/office/drawing/2014/main" id="{59468AFA-E1AD-4ACC-907F-38FB854D35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8462364" y="2783246"/>
                        <a:ext cx="579437" cy="835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64D5A21-B666-4534-B439-71C91939CE75}"/>
              </a:ext>
            </a:extLst>
          </p:cNvPr>
          <p:cNvCxnSpPr>
            <a:cxnSpLocks/>
          </p:cNvCxnSpPr>
          <p:nvPr/>
        </p:nvCxnSpPr>
        <p:spPr>
          <a:xfrm flipV="1">
            <a:off x="7553094" y="2371227"/>
            <a:ext cx="476956" cy="1349683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7A20C53-0705-41F9-9763-4969BC4DCD3E}"/>
              </a:ext>
            </a:extLst>
          </p:cNvPr>
          <p:cNvCxnSpPr>
            <a:cxnSpLocks/>
          </p:cNvCxnSpPr>
          <p:nvPr/>
        </p:nvCxnSpPr>
        <p:spPr>
          <a:xfrm>
            <a:off x="6889989" y="3394118"/>
            <a:ext cx="489179" cy="357982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9FDB6E45-C5F6-4C42-8D0D-FFB58EA1E0B5}"/>
              </a:ext>
            </a:extLst>
          </p:cNvPr>
          <p:cNvCxnSpPr>
            <a:cxnSpLocks/>
          </p:cNvCxnSpPr>
          <p:nvPr/>
        </p:nvCxnSpPr>
        <p:spPr>
          <a:xfrm flipV="1">
            <a:off x="6889989" y="3002820"/>
            <a:ext cx="1100604" cy="391299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Object 63">
            <a:extLst>
              <a:ext uri="{FF2B5EF4-FFF2-40B4-BE49-F238E27FC236}">
                <a16:creationId xmlns:a16="http://schemas.microsoft.com/office/drawing/2014/main" id="{CB86DD65-297D-42D4-B863-F1A3941A576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770886" y="1468144"/>
          <a:ext cx="623887" cy="8683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5" imgW="624302" imgH="868122" progId="ChemDraw.Document.6.0">
                  <p:embed/>
                </p:oleObj>
              </mc:Choice>
              <mc:Fallback>
                <p:oleObj name="CS ChemDraw Drawing" r:id="rId25" imgW="624302" imgH="868122" progId="ChemDraw.Document.6.0">
                  <p:embed/>
                  <p:pic>
                    <p:nvPicPr>
                      <p:cNvPr id="64" name="Object 63">
                        <a:extLst>
                          <a:ext uri="{FF2B5EF4-FFF2-40B4-BE49-F238E27FC236}">
                            <a16:creationId xmlns:a16="http://schemas.microsoft.com/office/drawing/2014/main" id="{CB86DD65-297D-42D4-B863-F1A3941A57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7770886" y="1468144"/>
                        <a:ext cx="623887" cy="8683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5" name="Object 64">
            <a:extLst>
              <a:ext uri="{FF2B5EF4-FFF2-40B4-BE49-F238E27FC236}">
                <a16:creationId xmlns:a16="http://schemas.microsoft.com/office/drawing/2014/main" id="{7ABB20B2-D8C8-45BD-AF19-9D713700AE0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126254" y="3780424"/>
          <a:ext cx="641350" cy="835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7" imgW="641156" imgH="834788" progId="ChemDraw.Document.6.0">
                  <p:embed/>
                </p:oleObj>
              </mc:Choice>
              <mc:Fallback>
                <p:oleObj name="CS ChemDraw Drawing" r:id="rId27" imgW="641156" imgH="834788" progId="ChemDraw.Document.6.0">
                  <p:embed/>
                  <p:pic>
                    <p:nvPicPr>
                      <p:cNvPr id="65" name="Object 64">
                        <a:extLst>
                          <a:ext uri="{FF2B5EF4-FFF2-40B4-BE49-F238E27FC236}">
                            <a16:creationId xmlns:a16="http://schemas.microsoft.com/office/drawing/2014/main" id="{7ABB20B2-D8C8-45BD-AF19-9D713700AE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7126254" y="3780424"/>
                        <a:ext cx="641350" cy="835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77CB6629-AC0B-4858-BA6C-F2DEE1DA038D}"/>
              </a:ext>
            </a:extLst>
          </p:cNvPr>
          <p:cNvCxnSpPr>
            <a:cxnSpLocks/>
            <a:stCxn id="68" idx="2"/>
          </p:cNvCxnSpPr>
          <p:nvPr/>
        </p:nvCxnSpPr>
        <p:spPr>
          <a:xfrm flipH="1">
            <a:off x="6460202" y="1499551"/>
            <a:ext cx="419272" cy="0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7A37E1F5-B1BA-422D-9505-40E7767C2658}"/>
              </a:ext>
            </a:extLst>
          </p:cNvPr>
          <p:cNvSpPr txBox="1"/>
          <p:nvPr/>
        </p:nvSpPr>
        <p:spPr>
          <a:xfrm>
            <a:off x="6518491" y="945553"/>
            <a:ext cx="72196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ward </a:t>
            </a:r>
          </a:p>
          <a:p>
            <a:r>
              <a:rPr lang="en-US" dirty="0"/>
              <a:t>1-hexene product</a:t>
            </a:r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50D8D71C-9B3A-4170-A8B6-62C5618C3748}"/>
              </a:ext>
            </a:extLst>
          </p:cNvPr>
          <p:cNvCxnSpPr>
            <a:cxnSpLocks/>
            <a:stCxn id="80" idx="2"/>
          </p:cNvCxnSpPr>
          <p:nvPr/>
        </p:nvCxnSpPr>
        <p:spPr>
          <a:xfrm flipH="1">
            <a:off x="8443812" y="1681549"/>
            <a:ext cx="283479" cy="96451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92071CD8-EC7C-4AC5-8C12-7682C91111F9}"/>
              </a:ext>
            </a:extLst>
          </p:cNvPr>
          <p:cNvSpPr txBox="1"/>
          <p:nvPr/>
        </p:nvSpPr>
        <p:spPr>
          <a:xfrm>
            <a:off x="8366308" y="1127551"/>
            <a:ext cx="72196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ward </a:t>
            </a:r>
          </a:p>
          <a:p>
            <a:r>
              <a:rPr lang="en-US" dirty="0"/>
              <a:t>C</a:t>
            </a:r>
            <a:r>
              <a:rPr lang="en-US" baseline="-25000" dirty="0"/>
              <a:t>10+</a:t>
            </a:r>
            <a:r>
              <a:rPr lang="en-US" dirty="0"/>
              <a:t> products</a:t>
            </a:r>
          </a:p>
        </p:txBody>
      </p:sp>
      <p:graphicFrame>
        <p:nvGraphicFramePr>
          <p:cNvPr id="49" name="Object 48">
            <a:extLst>
              <a:ext uri="{FF2B5EF4-FFF2-40B4-BE49-F238E27FC236}">
                <a16:creationId xmlns:a16="http://schemas.microsoft.com/office/drawing/2014/main" id="{B454A344-B7AC-4DF5-896E-3A26FCF46FA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872288" y="214313"/>
          <a:ext cx="1636712" cy="469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9" imgW="1636238" imgH="469188" progId="ChemDraw.Document.6.0">
                  <p:embed/>
                </p:oleObj>
              </mc:Choice>
              <mc:Fallback>
                <p:oleObj name="CS ChemDraw Drawing" r:id="rId29" imgW="1636238" imgH="469188" progId="ChemDraw.Document.6.0">
                  <p:embed/>
                  <p:pic>
                    <p:nvPicPr>
                      <p:cNvPr id="49" name="Object 48">
                        <a:extLst>
                          <a:ext uri="{FF2B5EF4-FFF2-40B4-BE49-F238E27FC236}">
                            <a16:creationId xmlns:a16="http://schemas.microsoft.com/office/drawing/2014/main" id="{B454A344-B7AC-4DF5-896E-3A26FCF46F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6872288" y="214313"/>
                        <a:ext cx="1636712" cy="469900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extBox 58">
            <a:extLst>
              <a:ext uri="{FF2B5EF4-FFF2-40B4-BE49-F238E27FC236}">
                <a16:creationId xmlns:a16="http://schemas.microsoft.com/office/drawing/2014/main" id="{A2C3FCAB-1BF2-4E4A-A847-CBCE9994091E}"/>
              </a:ext>
            </a:extLst>
          </p:cNvPr>
          <p:cNvSpPr txBox="1"/>
          <p:nvPr/>
        </p:nvSpPr>
        <p:spPr>
          <a:xfrm>
            <a:off x="1305002" y="3565929"/>
            <a:ext cx="1659729" cy="246221"/>
          </a:xfrm>
          <a:prstGeom prst="rect">
            <a:avLst/>
          </a:prstGeom>
          <a:solidFill>
            <a:srgbClr val="000099">
              <a:alpha val="80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u="sng" dirty="0">
                <a:solidFill>
                  <a:schemeClr val="bg1"/>
                </a:solidFill>
              </a:rPr>
              <a:t>turnover-limiting barriers</a:t>
            </a: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8D6F583C-25FD-4C79-B880-56829A5CC180}"/>
              </a:ext>
            </a:extLst>
          </p:cNvPr>
          <p:cNvCxnSpPr>
            <a:cxnSpLocks/>
            <a:stCxn id="59" idx="0"/>
          </p:cNvCxnSpPr>
          <p:nvPr/>
        </p:nvCxnSpPr>
        <p:spPr>
          <a:xfrm flipV="1">
            <a:off x="2134867" y="1268399"/>
            <a:ext cx="174693" cy="2297530"/>
          </a:xfrm>
          <a:prstGeom prst="straightConnector1">
            <a:avLst/>
          </a:prstGeom>
          <a:ln w="12700" cmpd="sng">
            <a:solidFill>
              <a:srgbClr val="3333AD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9BBDD300-4319-40A9-8228-E19B28E48556}"/>
              </a:ext>
            </a:extLst>
          </p:cNvPr>
          <p:cNvCxnSpPr>
            <a:cxnSpLocks/>
            <a:stCxn id="59" idx="0"/>
          </p:cNvCxnSpPr>
          <p:nvPr/>
        </p:nvCxnSpPr>
        <p:spPr>
          <a:xfrm flipV="1">
            <a:off x="2134867" y="1306357"/>
            <a:ext cx="2077329" cy="2259572"/>
          </a:xfrm>
          <a:prstGeom prst="straightConnector1">
            <a:avLst/>
          </a:prstGeom>
          <a:ln w="12700" cmpd="sng">
            <a:solidFill>
              <a:srgbClr val="3333AD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2F614F2E-3A00-4EC9-B00B-8A03C620DA17}"/>
              </a:ext>
            </a:extLst>
          </p:cNvPr>
          <p:cNvCxnSpPr>
            <a:cxnSpLocks/>
          </p:cNvCxnSpPr>
          <p:nvPr/>
        </p:nvCxnSpPr>
        <p:spPr>
          <a:xfrm>
            <a:off x="8107097" y="2371227"/>
            <a:ext cx="0" cy="596503"/>
          </a:xfrm>
          <a:prstGeom prst="line">
            <a:avLst/>
          </a:prstGeom>
          <a:ln w="12700" cmpd="sng">
            <a:solidFill>
              <a:srgbClr val="3399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7" name="Object 56">
            <a:extLst>
              <a:ext uri="{FF2B5EF4-FFF2-40B4-BE49-F238E27FC236}">
                <a16:creationId xmlns:a16="http://schemas.microsoft.com/office/drawing/2014/main" id="{DE882E4E-EAFB-40BB-ACC4-FF84D2014C7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535738" y="1862138"/>
          <a:ext cx="612775" cy="715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1" imgW="613544" imgH="715789" progId="ChemDraw.Document.6.0">
                  <p:embed/>
                </p:oleObj>
              </mc:Choice>
              <mc:Fallback>
                <p:oleObj name="CS ChemDraw Drawing" r:id="rId31" imgW="613544" imgH="715789" progId="ChemDraw.Document.6.0">
                  <p:embed/>
                  <p:pic>
                    <p:nvPicPr>
                      <p:cNvPr id="57" name="Object 56">
                        <a:extLst>
                          <a:ext uri="{FF2B5EF4-FFF2-40B4-BE49-F238E27FC236}">
                            <a16:creationId xmlns:a16="http://schemas.microsoft.com/office/drawing/2014/main" id="{DE882E4E-EAFB-40BB-ACC4-FF84D2014C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6535738" y="1862138"/>
                        <a:ext cx="612775" cy="715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8707078C-35CC-4276-8E5E-FB1F035DDE66}"/>
              </a:ext>
            </a:extLst>
          </p:cNvPr>
          <p:cNvCxnSpPr>
            <a:cxnSpLocks/>
          </p:cNvCxnSpPr>
          <p:nvPr/>
        </p:nvCxnSpPr>
        <p:spPr>
          <a:xfrm flipH="1">
            <a:off x="6813550" y="1499551"/>
            <a:ext cx="65924" cy="362587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50EC93EA-6F94-4E0C-91E4-73141A84FA21}"/>
              </a:ext>
            </a:extLst>
          </p:cNvPr>
          <p:cNvCxnSpPr>
            <a:cxnSpLocks/>
          </p:cNvCxnSpPr>
          <p:nvPr/>
        </p:nvCxnSpPr>
        <p:spPr>
          <a:xfrm flipH="1">
            <a:off x="5596984" y="2336507"/>
            <a:ext cx="484729" cy="574969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A5C72B55-903D-F229-2857-42662812D805}"/>
              </a:ext>
            </a:extLst>
          </p:cNvPr>
          <p:cNvSpPr/>
          <p:nvPr/>
        </p:nvSpPr>
        <p:spPr>
          <a:xfrm>
            <a:off x="6449673" y="3260034"/>
            <a:ext cx="2683798" cy="13496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5B4143A-1BCC-9BC7-1811-B70D51095B82}"/>
              </a:ext>
            </a:extLst>
          </p:cNvPr>
          <p:cNvSpPr/>
          <p:nvPr/>
        </p:nvSpPr>
        <p:spPr>
          <a:xfrm flipV="1">
            <a:off x="7240456" y="941427"/>
            <a:ext cx="1847818" cy="24710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8D97C10-FD07-4D46-9D7E-9549EDB5B810}"/>
              </a:ext>
            </a:extLst>
          </p:cNvPr>
          <p:cNvSpPr txBox="1"/>
          <p:nvPr/>
        </p:nvSpPr>
        <p:spPr>
          <a:xfrm>
            <a:off x="6900150" y="2661434"/>
            <a:ext cx="72196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ward </a:t>
            </a:r>
          </a:p>
          <a:p>
            <a:r>
              <a:rPr lang="en-US" dirty="0"/>
              <a:t>1-octene product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BD829516-7C45-44F3-AB9D-A6A9CF4CD55B}"/>
              </a:ext>
            </a:extLst>
          </p:cNvPr>
          <p:cNvCxnSpPr>
            <a:cxnSpLocks/>
          </p:cNvCxnSpPr>
          <p:nvPr/>
        </p:nvCxnSpPr>
        <p:spPr>
          <a:xfrm flipH="1" flipV="1">
            <a:off x="6534767" y="2901366"/>
            <a:ext cx="401047" cy="15743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FB8C325F-256E-8EC5-C71C-33647EFED0AA}"/>
              </a:ext>
            </a:extLst>
          </p:cNvPr>
          <p:cNvSpPr/>
          <p:nvPr/>
        </p:nvSpPr>
        <p:spPr>
          <a:xfrm>
            <a:off x="5047256" y="943621"/>
            <a:ext cx="3323986" cy="34813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EA384545-EC03-ABEA-8107-B1D6A08E572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53467" y="94182"/>
          <a:ext cx="617221" cy="6079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3" imgW="1052493" imgH="1037428" progId="ChemDraw.Document.6.0">
                  <p:embed/>
                </p:oleObj>
              </mc:Choice>
              <mc:Fallback>
                <p:oleObj name="CS ChemDraw Drawing" r:id="rId33" imgW="1052493" imgH="1037428" progId="ChemDraw.Document.6.0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EA384545-EC03-ABEA-8107-B1D6A08E57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53467" y="94182"/>
                        <a:ext cx="617221" cy="6079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62381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Chart 55">
            <a:extLst>
              <a:ext uri="{FF2B5EF4-FFF2-40B4-BE49-F238E27FC236}">
                <a16:creationId xmlns:a16="http://schemas.microsoft.com/office/drawing/2014/main" id="{06ED2A9F-BE9D-429D-89C4-F6B059B2C1F3}"/>
              </a:ext>
            </a:extLst>
          </p:cNvPr>
          <p:cNvGraphicFramePr>
            <a:graphicFrameLocks/>
          </p:cNvGraphicFramePr>
          <p:nvPr/>
        </p:nvGraphicFramePr>
        <p:xfrm>
          <a:off x="288143" y="812987"/>
          <a:ext cx="8567714" cy="3517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676F119-8E53-44B5-A52A-0546F53E2F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8136" y="206004"/>
            <a:ext cx="7570892" cy="618166"/>
          </a:xfrm>
        </p:spPr>
        <p:txBody>
          <a:bodyPr/>
          <a:lstStyle/>
          <a:p>
            <a:r>
              <a:rPr lang="en-US" dirty="0"/>
              <a:t>Mechanism: 1-C</a:t>
            </a:r>
            <a:r>
              <a:rPr lang="en-US" baseline="-25000" dirty="0"/>
              <a:t>8</a:t>
            </a:r>
            <a:r>
              <a:rPr lang="en-US" dirty="0"/>
              <a:t> vs 1-C</a:t>
            </a:r>
            <a:r>
              <a:rPr lang="en-US" baseline="-25000" dirty="0"/>
              <a:t>6</a:t>
            </a:r>
            <a:r>
              <a:rPr lang="en-US" dirty="0"/>
              <a:t> Determining Step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D450CDE-B2E4-4F4B-BF95-8BCE1DF9096E}"/>
              </a:ext>
            </a:extLst>
          </p:cNvPr>
          <p:cNvSpPr txBox="1"/>
          <p:nvPr/>
        </p:nvSpPr>
        <p:spPr>
          <a:xfrm>
            <a:off x="608351" y="4814385"/>
            <a:ext cx="6869188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Computational details: </a:t>
            </a:r>
            <a:r>
              <a:rPr lang="en-US" dirty="0" err="1"/>
              <a:t>NWChem</a:t>
            </a:r>
            <a:r>
              <a:rPr lang="en-US" dirty="0"/>
              <a:t> 6.8, M06-D3/def2-TZVP//B3LYP-D3/def2-SVP + solvation energy (M06-D3/def2-SVP)</a:t>
            </a:r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D84CF033-3D42-4665-8F4B-75D83B188F5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450432" y="2684277"/>
          <a:ext cx="487363" cy="552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" imgW="487321" imgH="552702" progId="ChemDraw.Document.6.0">
                  <p:embed/>
                </p:oleObj>
              </mc:Choice>
              <mc:Fallback>
                <p:oleObj name="CS ChemDraw Drawing" r:id="rId3" imgW="487321" imgH="552702" progId="ChemDraw.Document.6.0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D84CF033-3D42-4665-8F4B-75D83B188F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50432" y="2684277"/>
                        <a:ext cx="487363" cy="552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AA2E4F48-4D56-499A-90D7-C73461631EC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711712" y="934454"/>
          <a:ext cx="385763" cy="59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5" imgW="385124" imgH="597148" progId="ChemDraw.Document.6.0">
                  <p:embed/>
                </p:oleObj>
              </mc:Choice>
              <mc:Fallback>
                <p:oleObj name="CS ChemDraw Drawing" r:id="rId5" imgW="385124" imgH="597148" progId="ChemDraw.Document.6.0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AA2E4F48-4D56-499A-90D7-C73461631E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712" y="934454"/>
                        <a:ext cx="385763" cy="59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0F9887A-136E-4EF7-833B-01DA7E84821E}"/>
              </a:ext>
            </a:extLst>
          </p:cNvPr>
          <p:cNvCxnSpPr>
            <a:cxnSpLocks/>
          </p:cNvCxnSpPr>
          <p:nvPr/>
        </p:nvCxnSpPr>
        <p:spPr>
          <a:xfrm flipV="1">
            <a:off x="1761582" y="1204438"/>
            <a:ext cx="502944" cy="1367312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1801AD5-7BA2-4856-B398-ED4DA06B261A}"/>
              </a:ext>
            </a:extLst>
          </p:cNvPr>
          <p:cNvCxnSpPr>
            <a:cxnSpLocks/>
          </p:cNvCxnSpPr>
          <p:nvPr/>
        </p:nvCxnSpPr>
        <p:spPr>
          <a:xfrm flipH="1" flipV="1">
            <a:off x="2438531" y="1204438"/>
            <a:ext cx="450719" cy="63961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ABBE9A6-3851-4F32-93F9-0C470F1A5DD3}"/>
              </a:ext>
            </a:extLst>
          </p:cNvPr>
          <p:cNvCxnSpPr>
            <a:cxnSpLocks/>
          </p:cNvCxnSpPr>
          <p:nvPr/>
        </p:nvCxnSpPr>
        <p:spPr>
          <a:xfrm flipH="1" flipV="1">
            <a:off x="3039942" y="1270000"/>
            <a:ext cx="477958" cy="427273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5D9DE66-D204-4315-BD50-79E7F3434E18}"/>
              </a:ext>
            </a:extLst>
          </p:cNvPr>
          <p:cNvCxnSpPr>
            <a:cxnSpLocks/>
          </p:cNvCxnSpPr>
          <p:nvPr/>
        </p:nvCxnSpPr>
        <p:spPr>
          <a:xfrm flipV="1">
            <a:off x="3667232" y="1268399"/>
            <a:ext cx="498368" cy="428874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Object 27">
            <a:extLst>
              <a:ext uri="{FF2B5EF4-FFF2-40B4-BE49-F238E27FC236}">
                <a16:creationId xmlns:a16="http://schemas.microsoft.com/office/drawing/2014/main" id="{DB42E3DC-2B0C-44C4-8F6F-8A51C7CDAFA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775903" y="616585"/>
          <a:ext cx="387350" cy="59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7" imgW="386917" imgH="597148" progId="ChemDraw.Document.6.0">
                  <p:embed/>
                </p:oleObj>
              </mc:Choice>
              <mc:Fallback>
                <p:oleObj name="CS ChemDraw Drawing" r:id="rId7" imgW="386917" imgH="597148" progId="ChemDraw.Document.6.0">
                  <p:embed/>
                  <p:pic>
                    <p:nvPicPr>
                      <p:cNvPr id="28" name="Object 27">
                        <a:extLst>
                          <a:ext uri="{FF2B5EF4-FFF2-40B4-BE49-F238E27FC236}">
                            <a16:creationId xmlns:a16="http://schemas.microsoft.com/office/drawing/2014/main" id="{DB42E3DC-2B0C-44C4-8F6F-8A51C7CDAF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775903" y="616585"/>
                        <a:ext cx="387350" cy="59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" name="Object 28">
            <a:extLst>
              <a:ext uri="{FF2B5EF4-FFF2-40B4-BE49-F238E27FC236}">
                <a16:creationId xmlns:a16="http://schemas.microsoft.com/office/drawing/2014/main" id="{22BD608C-7BB6-49E3-8A90-0A54609FBC2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075138" y="1659315"/>
          <a:ext cx="490537" cy="59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9" imgW="490549" imgH="597148" progId="ChemDraw.Document.6.0">
                  <p:embed/>
                </p:oleObj>
              </mc:Choice>
              <mc:Fallback>
                <p:oleObj name="CS ChemDraw Drawing" r:id="rId9" imgW="490549" imgH="597148" progId="ChemDraw.Document.6.0">
                  <p:embed/>
                  <p:pic>
                    <p:nvPicPr>
                      <p:cNvPr id="29" name="Object 28">
                        <a:extLst>
                          <a:ext uri="{FF2B5EF4-FFF2-40B4-BE49-F238E27FC236}">
                            <a16:creationId xmlns:a16="http://schemas.microsoft.com/office/drawing/2014/main" id="{22BD608C-7BB6-49E3-8A90-0A54609FBC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075138" y="1659315"/>
                        <a:ext cx="490537" cy="59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0" name="Object 29">
            <a:extLst>
              <a:ext uri="{FF2B5EF4-FFF2-40B4-BE49-F238E27FC236}">
                <a16:creationId xmlns:a16="http://schemas.microsoft.com/office/drawing/2014/main" id="{56E654FC-30B5-4BB2-90CF-23C42459F6C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791141" y="644957"/>
          <a:ext cx="473075" cy="6302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1" imgW="473336" imgH="630482" progId="ChemDraw.Document.6.0">
                  <p:embed/>
                </p:oleObj>
              </mc:Choice>
              <mc:Fallback>
                <p:oleObj name="CS ChemDraw Drawing" r:id="rId11" imgW="473336" imgH="630482" progId="ChemDraw.Document.6.0">
                  <p:embed/>
                  <p:pic>
                    <p:nvPicPr>
                      <p:cNvPr id="30" name="Object 29">
                        <a:extLst>
                          <a:ext uri="{FF2B5EF4-FFF2-40B4-BE49-F238E27FC236}">
                            <a16:creationId xmlns:a16="http://schemas.microsoft.com/office/drawing/2014/main" id="{56E654FC-30B5-4BB2-90CF-23C42459F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791141" y="644957"/>
                        <a:ext cx="473075" cy="6302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81C62AE-F467-44E5-96B1-7B7E1CFA356A}"/>
              </a:ext>
            </a:extLst>
          </p:cNvPr>
          <p:cNvCxnSpPr>
            <a:cxnSpLocks/>
          </p:cNvCxnSpPr>
          <p:nvPr/>
        </p:nvCxnSpPr>
        <p:spPr>
          <a:xfrm>
            <a:off x="4325389" y="1232904"/>
            <a:ext cx="460995" cy="1351764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C1EA66D-0E3C-48B7-8570-154B54C8F3A0}"/>
              </a:ext>
            </a:extLst>
          </p:cNvPr>
          <p:cNvCxnSpPr>
            <a:cxnSpLocks/>
          </p:cNvCxnSpPr>
          <p:nvPr/>
        </p:nvCxnSpPr>
        <p:spPr>
          <a:xfrm flipH="1">
            <a:off x="4962865" y="2088758"/>
            <a:ext cx="1142543" cy="482991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7F0BE24-05E3-4DD8-B5ED-8E4ACDD6EFCA}"/>
              </a:ext>
            </a:extLst>
          </p:cNvPr>
          <p:cNvCxnSpPr>
            <a:cxnSpLocks/>
          </p:cNvCxnSpPr>
          <p:nvPr/>
        </p:nvCxnSpPr>
        <p:spPr>
          <a:xfrm flipH="1" flipV="1">
            <a:off x="4962866" y="2590801"/>
            <a:ext cx="477864" cy="320675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4808B1C-4542-4DC9-8F0F-EC6020E1548A}"/>
              </a:ext>
            </a:extLst>
          </p:cNvPr>
          <p:cNvCxnSpPr>
            <a:cxnSpLocks/>
          </p:cNvCxnSpPr>
          <p:nvPr/>
        </p:nvCxnSpPr>
        <p:spPr>
          <a:xfrm flipH="1">
            <a:off x="5596984" y="2526506"/>
            <a:ext cx="484729" cy="38497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5" name="Object 44">
            <a:extLst>
              <a:ext uri="{FF2B5EF4-FFF2-40B4-BE49-F238E27FC236}">
                <a16:creationId xmlns:a16="http://schemas.microsoft.com/office/drawing/2014/main" id="{EFF2A683-B8D0-48A3-8192-73D4EAFB0CD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609579" y="2697554"/>
          <a:ext cx="461963" cy="715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3" imgW="461503" imgH="715789" progId="ChemDraw.Document.6.0">
                  <p:embed/>
                </p:oleObj>
              </mc:Choice>
              <mc:Fallback>
                <p:oleObj name="CS ChemDraw Drawing" r:id="rId13" imgW="461503" imgH="715789" progId="ChemDraw.Document.6.0">
                  <p:embed/>
                  <p:pic>
                    <p:nvPicPr>
                      <p:cNvPr id="45" name="Object 44">
                        <a:extLst>
                          <a:ext uri="{FF2B5EF4-FFF2-40B4-BE49-F238E27FC236}">
                            <a16:creationId xmlns:a16="http://schemas.microsoft.com/office/drawing/2014/main" id="{EFF2A683-B8D0-48A3-8192-73D4EAFB0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4609579" y="2697554"/>
                        <a:ext cx="461963" cy="715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6" name="Object 45">
            <a:extLst>
              <a:ext uri="{FF2B5EF4-FFF2-40B4-BE49-F238E27FC236}">
                <a16:creationId xmlns:a16="http://schemas.microsoft.com/office/drawing/2014/main" id="{DC16A046-FC87-41F2-B377-EC6F0CC308A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61120491"/>
              </p:ext>
            </p:extLst>
          </p:nvPr>
        </p:nvGraphicFramePr>
        <p:xfrm>
          <a:off x="5932288" y="1269999"/>
          <a:ext cx="460375" cy="715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5" imgW="461144" imgH="715789" progId="ChemDraw.Document.6.0">
                  <p:embed/>
                </p:oleObj>
              </mc:Choice>
              <mc:Fallback>
                <p:oleObj name="CS ChemDraw Drawing" r:id="rId15" imgW="461144" imgH="715789" progId="ChemDraw.Document.6.0">
                  <p:embed/>
                  <p:pic>
                    <p:nvPicPr>
                      <p:cNvPr id="46" name="Object 45">
                        <a:extLst>
                          <a:ext uri="{FF2B5EF4-FFF2-40B4-BE49-F238E27FC236}">
                            <a16:creationId xmlns:a16="http://schemas.microsoft.com/office/drawing/2014/main" id="{DC16A046-FC87-41F2-B377-EC6F0CC30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5932288" y="1269999"/>
                        <a:ext cx="460375" cy="715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7" name="Object 46">
            <a:extLst>
              <a:ext uri="{FF2B5EF4-FFF2-40B4-BE49-F238E27FC236}">
                <a16:creationId xmlns:a16="http://schemas.microsoft.com/office/drawing/2014/main" id="{02C28917-036F-4712-BC9B-BDAFE86D382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957400" y="2592201"/>
          <a:ext cx="546100" cy="76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7" imgW="546488" imgH="761668" progId="ChemDraw.Document.6.0">
                  <p:embed/>
                </p:oleObj>
              </mc:Choice>
              <mc:Fallback>
                <p:oleObj name="CS ChemDraw Drawing" r:id="rId17" imgW="546488" imgH="761668" progId="ChemDraw.Document.6.0">
                  <p:embed/>
                  <p:pic>
                    <p:nvPicPr>
                      <p:cNvPr id="47" name="Object 46">
                        <a:extLst>
                          <a:ext uri="{FF2B5EF4-FFF2-40B4-BE49-F238E27FC236}">
                            <a16:creationId xmlns:a16="http://schemas.microsoft.com/office/drawing/2014/main" id="{02C28917-036F-4712-BC9B-BDAFE86D38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5957400" y="2592201"/>
                        <a:ext cx="546100" cy="762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8" name="Object 47">
            <a:extLst>
              <a:ext uri="{FF2B5EF4-FFF2-40B4-BE49-F238E27FC236}">
                <a16:creationId xmlns:a16="http://schemas.microsoft.com/office/drawing/2014/main" id="{BB8B7A6F-AE6F-44CA-9DB3-BD3A83508E3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266032" y="3036137"/>
          <a:ext cx="563563" cy="715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9" imgW="563342" imgH="715789" progId="ChemDraw.Document.6.0">
                  <p:embed/>
                </p:oleObj>
              </mc:Choice>
              <mc:Fallback>
                <p:oleObj name="CS ChemDraw Drawing" r:id="rId19" imgW="563342" imgH="715789" progId="ChemDraw.Document.6.0">
                  <p:embed/>
                  <p:pic>
                    <p:nvPicPr>
                      <p:cNvPr id="48" name="Object 47">
                        <a:extLst>
                          <a:ext uri="{FF2B5EF4-FFF2-40B4-BE49-F238E27FC236}">
                            <a16:creationId xmlns:a16="http://schemas.microsoft.com/office/drawing/2014/main" id="{BB8B7A6F-AE6F-44CA-9DB3-BD3A83508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5266032" y="3036137"/>
                        <a:ext cx="563563" cy="715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" name="Object 50">
            <a:extLst>
              <a:ext uri="{FF2B5EF4-FFF2-40B4-BE49-F238E27FC236}">
                <a16:creationId xmlns:a16="http://schemas.microsoft.com/office/drawing/2014/main" id="{4BC099AE-4115-4950-9658-2DC8638B5DF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460202" y="3495573"/>
          <a:ext cx="579437" cy="835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1" imgW="578761" imgH="834788" progId="ChemDraw.Document.6.0">
                  <p:embed/>
                </p:oleObj>
              </mc:Choice>
              <mc:Fallback>
                <p:oleObj name="CS ChemDraw Drawing" r:id="rId21" imgW="578761" imgH="834788" progId="ChemDraw.Document.6.0">
                  <p:embed/>
                  <p:pic>
                    <p:nvPicPr>
                      <p:cNvPr id="51" name="Object 50">
                        <a:extLst>
                          <a:ext uri="{FF2B5EF4-FFF2-40B4-BE49-F238E27FC236}">
                            <a16:creationId xmlns:a16="http://schemas.microsoft.com/office/drawing/2014/main" id="{4BC099AE-4115-4950-9658-2DC8638B5D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6460202" y="3495573"/>
                        <a:ext cx="579437" cy="835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2" name="Object 51">
            <a:extLst>
              <a:ext uri="{FF2B5EF4-FFF2-40B4-BE49-F238E27FC236}">
                <a16:creationId xmlns:a16="http://schemas.microsoft.com/office/drawing/2014/main" id="{59468AFA-E1AD-4ACC-907F-38FB854D35C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462364" y="2783246"/>
          <a:ext cx="579437" cy="835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3" imgW="578761" imgH="834788" progId="ChemDraw.Document.6.0">
                  <p:embed/>
                </p:oleObj>
              </mc:Choice>
              <mc:Fallback>
                <p:oleObj name="CS ChemDraw Drawing" r:id="rId23" imgW="578761" imgH="834788" progId="ChemDraw.Document.6.0">
                  <p:embed/>
                  <p:pic>
                    <p:nvPicPr>
                      <p:cNvPr id="52" name="Object 51">
                        <a:extLst>
                          <a:ext uri="{FF2B5EF4-FFF2-40B4-BE49-F238E27FC236}">
                            <a16:creationId xmlns:a16="http://schemas.microsoft.com/office/drawing/2014/main" id="{59468AFA-E1AD-4ACC-907F-38FB854D35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8462364" y="2783246"/>
                        <a:ext cx="579437" cy="835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64D5A21-B666-4534-B439-71C91939CE75}"/>
              </a:ext>
            </a:extLst>
          </p:cNvPr>
          <p:cNvCxnSpPr>
            <a:cxnSpLocks/>
          </p:cNvCxnSpPr>
          <p:nvPr/>
        </p:nvCxnSpPr>
        <p:spPr>
          <a:xfrm flipV="1">
            <a:off x="7553094" y="2371227"/>
            <a:ext cx="476956" cy="1349683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7A20C53-0705-41F9-9763-4969BC4DCD3E}"/>
              </a:ext>
            </a:extLst>
          </p:cNvPr>
          <p:cNvCxnSpPr>
            <a:cxnSpLocks/>
          </p:cNvCxnSpPr>
          <p:nvPr/>
        </p:nvCxnSpPr>
        <p:spPr>
          <a:xfrm>
            <a:off x="6889989" y="3394118"/>
            <a:ext cx="489179" cy="357982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9FDB6E45-C5F6-4C42-8D0D-FFB58EA1E0B5}"/>
              </a:ext>
            </a:extLst>
          </p:cNvPr>
          <p:cNvCxnSpPr>
            <a:cxnSpLocks/>
          </p:cNvCxnSpPr>
          <p:nvPr/>
        </p:nvCxnSpPr>
        <p:spPr>
          <a:xfrm flipV="1">
            <a:off x="6889989" y="3002820"/>
            <a:ext cx="1100604" cy="391299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Object 63">
            <a:extLst>
              <a:ext uri="{FF2B5EF4-FFF2-40B4-BE49-F238E27FC236}">
                <a16:creationId xmlns:a16="http://schemas.microsoft.com/office/drawing/2014/main" id="{CB86DD65-297D-42D4-B863-F1A3941A576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770886" y="1468144"/>
          <a:ext cx="623887" cy="8683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5" imgW="624302" imgH="868122" progId="ChemDraw.Document.6.0">
                  <p:embed/>
                </p:oleObj>
              </mc:Choice>
              <mc:Fallback>
                <p:oleObj name="CS ChemDraw Drawing" r:id="rId25" imgW="624302" imgH="868122" progId="ChemDraw.Document.6.0">
                  <p:embed/>
                  <p:pic>
                    <p:nvPicPr>
                      <p:cNvPr id="64" name="Object 63">
                        <a:extLst>
                          <a:ext uri="{FF2B5EF4-FFF2-40B4-BE49-F238E27FC236}">
                            <a16:creationId xmlns:a16="http://schemas.microsoft.com/office/drawing/2014/main" id="{CB86DD65-297D-42D4-B863-F1A3941A57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7770886" y="1468144"/>
                        <a:ext cx="623887" cy="8683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5" name="Object 64">
            <a:extLst>
              <a:ext uri="{FF2B5EF4-FFF2-40B4-BE49-F238E27FC236}">
                <a16:creationId xmlns:a16="http://schemas.microsoft.com/office/drawing/2014/main" id="{7ABB20B2-D8C8-45BD-AF19-9D713700AE0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126254" y="3780424"/>
          <a:ext cx="641350" cy="835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7" imgW="641156" imgH="834788" progId="ChemDraw.Document.6.0">
                  <p:embed/>
                </p:oleObj>
              </mc:Choice>
              <mc:Fallback>
                <p:oleObj name="CS ChemDraw Drawing" r:id="rId27" imgW="641156" imgH="834788" progId="ChemDraw.Document.6.0">
                  <p:embed/>
                  <p:pic>
                    <p:nvPicPr>
                      <p:cNvPr id="65" name="Object 64">
                        <a:extLst>
                          <a:ext uri="{FF2B5EF4-FFF2-40B4-BE49-F238E27FC236}">
                            <a16:creationId xmlns:a16="http://schemas.microsoft.com/office/drawing/2014/main" id="{7ABB20B2-D8C8-45BD-AF19-9D713700AE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7126254" y="3780424"/>
                        <a:ext cx="641350" cy="835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77CB6629-AC0B-4858-BA6C-F2DEE1DA038D}"/>
              </a:ext>
            </a:extLst>
          </p:cNvPr>
          <p:cNvCxnSpPr>
            <a:cxnSpLocks/>
            <a:stCxn id="68" idx="2"/>
          </p:cNvCxnSpPr>
          <p:nvPr/>
        </p:nvCxnSpPr>
        <p:spPr>
          <a:xfrm flipH="1">
            <a:off x="6460202" y="1499551"/>
            <a:ext cx="419272" cy="0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7A37E1F5-B1BA-422D-9505-40E7767C2658}"/>
              </a:ext>
            </a:extLst>
          </p:cNvPr>
          <p:cNvSpPr txBox="1"/>
          <p:nvPr/>
        </p:nvSpPr>
        <p:spPr>
          <a:xfrm>
            <a:off x="6518491" y="945553"/>
            <a:ext cx="72196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ward </a:t>
            </a:r>
          </a:p>
          <a:p>
            <a:r>
              <a:rPr lang="en-US" dirty="0"/>
              <a:t>1-hexene product</a:t>
            </a:r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50D8D71C-9B3A-4170-A8B6-62C5618C3748}"/>
              </a:ext>
            </a:extLst>
          </p:cNvPr>
          <p:cNvCxnSpPr>
            <a:cxnSpLocks/>
            <a:stCxn id="80" idx="2"/>
          </p:cNvCxnSpPr>
          <p:nvPr/>
        </p:nvCxnSpPr>
        <p:spPr>
          <a:xfrm flipH="1">
            <a:off x="8443812" y="1681549"/>
            <a:ext cx="283479" cy="96451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92071CD8-EC7C-4AC5-8C12-7682C91111F9}"/>
              </a:ext>
            </a:extLst>
          </p:cNvPr>
          <p:cNvSpPr txBox="1"/>
          <p:nvPr/>
        </p:nvSpPr>
        <p:spPr>
          <a:xfrm>
            <a:off x="8366308" y="1127551"/>
            <a:ext cx="72196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ward </a:t>
            </a:r>
          </a:p>
          <a:p>
            <a:r>
              <a:rPr lang="en-US" dirty="0"/>
              <a:t>C</a:t>
            </a:r>
            <a:r>
              <a:rPr lang="en-US" baseline="-25000" dirty="0"/>
              <a:t>10+</a:t>
            </a:r>
            <a:r>
              <a:rPr lang="en-US" dirty="0"/>
              <a:t> products</a:t>
            </a:r>
          </a:p>
        </p:txBody>
      </p:sp>
      <p:graphicFrame>
        <p:nvGraphicFramePr>
          <p:cNvPr id="49" name="Object 48">
            <a:extLst>
              <a:ext uri="{FF2B5EF4-FFF2-40B4-BE49-F238E27FC236}">
                <a16:creationId xmlns:a16="http://schemas.microsoft.com/office/drawing/2014/main" id="{B454A344-B7AC-4DF5-896E-3A26FCF46FA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872288" y="214313"/>
          <a:ext cx="1636712" cy="469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9" imgW="1636238" imgH="469188" progId="ChemDraw.Document.6.0">
                  <p:embed/>
                </p:oleObj>
              </mc:Choice>
              <mc:Fallback>
                <p:oleObj name="CS ChemDraw Drawing" r:id="rId29" imgW="1636238" imgH="469188" progId="ChemDraw.Document.6.0">
                  <p:embed/>
                  <p:pic>
                    <p:nvPicPr>
                      <p:cNvPr id="49" name="Object 48">
                        <a:extLst>
                          <a:ext uri="{FF2B5EF4-FFF2-40B4-BE49-F238E27FC236}">
                            <a16:creationId xmlns:a16="http://schemas.microsoft.com/office/drawing/2014/main" id="{B454A344-B7AC-4DF5-896E-3A26FCF46F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6872288" y="214313"/>
                        <a:ext cx="1636712" cy="469900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extBox 58">
            <a:extLst>
              <a:ext uri="{FF2B5EF4-FFF2-40B4-BE49-F238E27FC236}">
                <a16:creationId xmlns:a16="http://schemas.microsoft.com/office/drawing/2014/main" id="{A2C3FCAB-1BF2-4E4A-A847-CBCE9994091E}"/>
              </a:ext>
            </a:extLst>
          </p:cNvPr>
          <p:cNvSpPr txBox="1"/>
          <p:nvPr/>
        </p:nvSpPr>
        <p:spPr>
          <a:xfrm>
            <a:off x="1305002" y="3565929"/>
            <a:ext cx="1659729" cy="246221"/>
          </a:xfrm>
          <a:prstGeom prst="rect">
            <a:avLst/>
          </a:prstGeom>
          <a:solidFill>
            <a:srgbClr val="000099">
              <a:alpha val="80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u="sng" dirty="0">
                <a:solidFill>
                  <a:schemeClr val="bg1"/>
                </a:solidFill>
              </a:rPr>
              <a:t>turnover-limiting barriers</a:t>
            </a: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8D6F583C-25FD-4C79-B880-56829A5CC180}"/>
              </a:ext>
            </a:extLst>
          </p:cNvPr>
          <p:cNvCxnSpPr>
            <a:cxnSpLocks/>
            <a:stCxn id="59" idx="0"/>
          </p:cNvCxnSpPr>
          <p:nvPr/>
        </p:nvCxnSpPr>
        <p:spPr>
          <a:xfrm flipV="1">
            <a:off x="2134867" y="1268399"/>
            <a:ext cx="174693" cy="2297530"/>
          </a:xfrm>
          <a:prstGeom prst="straightConnector1">
            <a:avLst/>
          </a:prstGeom>
          <a:ln w="12700" cmpd="sng">
            <a:solidFill>
              <a:srgbClr val="3333AD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9BBDD300-4319-40A9-8228-E19B28E48556}"/>
              </a:ext>
            </a:extLst>
          </p:cNvPr>
          <p:cNvCxnSpPr>
            <a:cxnSpLocks/>
            <a:stCxn id="59" idx="0"/>
          </p:cNvCxnSpPr>
          <p:nvPr/>
        </p:nvCxnSpPr>
        <p:spPr>
          <a:xfrm flipV="1">
            <a:off x="2134867" y="1306357"/>
            <a:ext cx="2077329" cy="2259572"/>
          </a:xfrm>
          <a:prstGeom prst="straightConnector1">
            <a:avLst/>
          </a:prstGeom>
          <a:ln w="12700" cmpd="sng">
            <a:solidFill>
              <a:srgbClr val="3333AD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9403462A-A03A-4302-BDC3-1EF192A02D76}"/>
              </a:ext>
            </a:extLst>
          </p:cNvPr>
          <p:cNvCxnSpPr>
            <a:cxnSpLocks/>
            <a:stCxn id="62" idx="0"/>
          </p:cNvCxnSpPr>
          <p:nvPr/>
        </p:nvCxnSpPr>
        <p:spPr>
          <a:xfrm flipV="1">
            <a:off x="4934798" y="2419351"/>
            <a:ext cx="1235103" cy="1319598"/>
          </a:xfrm>
          <a:prstGeom prst="straightConnector1">
            <a:avLst/>
          </a:prstGeom>
          <a:ln w="12700" cmpd="sng">
            <a:solidFill>
              <a:srgbClr val="339933"/>
            </a:solidFill>
            <a:tailEnd type="diamon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7AA9552B-E3AE-417E-B9B4-943ACD80D009}"/>
              </a:ext>
            </a:extLst>
          </p:cNvPr>
          <p:cNvCxnSpPr>
            <a:cxnSpLocks/>
          </p:cNvCxnSpPr>
          <p:nvPr/>
        </p:nvCxnSpPr>
        <p:spPr>
          <a:xfrm>
            <a:off x="6169901" y="2336507"/>
            <a:ext cx="0" cy="189999"/>
          </a:xfrm>
          <a:prstGeom prst="line">
            <a:avLst/>
          </a:prstGeom>
          <a:ln w="12700" cmpd="sng">
            <a:solidFill>
              <a:srgbClr val="3399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2F614F2E-3A00-4EC9-B00B-8A03C620DA17}"/>
              </a:ext>
            </a:extLst>
          </p:cNvPr>
          <p:cNvCxnSpPr>
            <a:cxnSpLocks/>
          </p:cNvCxnSpPr>
          <p:nvPr/>
        </p:nvCxnSpPr>
        <p:spPr>
          <a:xfrm>
            <a:off x="8107097" y="2371227"/>
            <a:ext cx="0" cy="596503"/>
          </a:xfrm>
          <a:prstGeom prst="line">
            <a:avLst/>
          </a:prstGeom>
          <a:ln w="12700" cmpd="sng">
            <a:solidFill>
              <a:srgbClr val="3399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7" name="Object 56">
            <a:extLst>
              <a:ext uri="{FF2B5EF4-FFF2-40B4-BE49-F238E27FC236}">
                <a16:creationId xmlns:a16="http://schemas.microsoft.com/office/drawing/2014/main" id="{DE882E4E-EAFB-40BB-ACC4-FF84D2014C7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24764345"/>
              </p:ext>
            </p:extLst>
          </p:nvPr>
        </p:nvGraphicFramePr>
        <p:xfrm>
          <a:off x="6535738" y="1862138"/>
          <a:ext cx="612775" cy="715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1" imgW="613544" imgH="715789" progId="ChemDraw.Document.6.0">
                  <p:embed/>
                </p:oleObj>
              </mc:Choice>
              <mc:Fallback>
                <p:oleObj name="CS ChemDraw Drawing" r:id="rId31" imgW="613544" imgH="715789" progId="ChemDraw.Document.6.0">
                  <p:embed/>
                  <p:pic>
                    <p:nvPicPr>
                      <p:cNvPr id="57" name="Object 56">
                        <a:extLst>
                          <a:ext uri="{FF2B5EF4-FFF2-40B4-BE49-F238E27FC236}">
                            <a16:creationId xmlns:a16="http://schemas.microsoft.com/office/drawing/2014/main" id="{DE882E4E-EAFB-40BB-ACC4-FF84D2014C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6535738" y="1862138"/>
                        <a:ext cx="612775" cy="715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8707078C-35CC-4276-8E5E-FB1F035DDE66}"/>
              </a:ext>
            </a:extLst>
          </p:cNvPr>
          <p:cNvCxnSpPr>
            <a:cxnSpLocks/>
          </p:cNvCxnSpPr>
          <p:nvPr/>
        </p:nvCxnSpPr>
        <p:spPr>
          <a:xfrm flipH="1">
            <a:off x="6813550" y="1499551"/>
            <a:ext cx="65924" cy="362587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50EC93EA-6F94-4E0C-91E4-73141A84FA21}"/>
              </a:ext>
            </a:extLst>
          </p:cNvPr>
          <p:cNvCxnSpPr>
            <a:cxnSpLocks/>
          </p:cNvCxnSpPr>
          <p:nvPr/>
        </p:nvCxnSpPr>
        <p:spPr>
          <a:xfrm flipH="1">
            <a:off x="5596984" y="2336507"/>
            <a:ext cx="484729" cy="574969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A5C72B55-903D-F229-2857-42662812D805}"/>
              </a:ext>
            </a:extLst>
          </p:cNvPr>
          <p:cNvSpPr/>
          <p:nvPr/>
        </p:nvSpPr>
        <p:spPr>
          <a:xfrm>
            <a:off x="6449673" y="3260034"/>
            <a:ext cx="2683798" cy="13496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5B4143A-1BCC-9BC7-1811-B70D51095B82}"/>
              </a:ext>
            </a:extLst>
          </p:cNvPr>
          <p:cNvSpPr/>
          <p:nvPr/>
        </p:nvSpPr>
        <p:spPr>
          <a:xfrm flipV="1">
            <a:off x="7240456" y="941427"/>
            <a:ext cx="1847818" cy="24710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8D97C10-FD07-4D46-9D7E-9549EDB5B810}"/>
              </a:ext>
            </a:extLst>
          </p:cNvPr>
          <p:cNvSpPr txBox="1"/>
          <p:nvPr/>
        </p:nvSpPr>
        <p:spPr>
          <a:xfrm>
            <a:off x="6900150" y="2661434"/>
            <a:ext cx="72196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ward </a:t>
            </a:r>
          </a:p>
          <a:p>
            <a:r>
              <a:rPr lang="en-US" dirty="0"/>
              <a:t>1-octene product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BD829516-7C45-44F3-AB9D-A6A9CF4CD55B}"/>
              </a:ext>
            </a:extLst>
          </p:cNvPr>
          <p:cNvCxnSpPr>
            <a:cxnSpLocks/>
          </p:cNvCxnSpPr>
          <p:nvPr/>
        </p:nvCxnSpPr>
        <p:spPr>
          <a:xfrm flipH="1" flipV="1">
            <a:off x="6534767" y="2901366"/>
            <a:ext cx="401047" cy="15743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0911FDD3-1927-11B7-E13A-2509650997E2}"/>
              </a:ext>
            </a:extLst>
          </p:cNvPr>
          <p:cNvSpPr txBox="1"/>
          <p:nvPr/>
        </p:nvSpPr>
        <p:spPr>
          <a:xfrm>
            <a:off x="6906857" y="1930544"/>
            <a:ext cx="16876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</a:rPr>
              <a:t>ethylene ligand assists BH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3725EE7-8915-205E-8F1E-C2C3C0FD3EDD}"/>
              </a:ext>
            </a:extLst>
          </p:cNvPr>
          <p:cNvSpPr/>
          <p:nvPr/>
        </p:nvSpPr>
        <p:spPr>
          <a:xfrm>
            <a:off x="1269960" y="616585"/>
            <a:ext cx="3360196" cy="3481311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413CA1E-4148-4897-B143-04E4C8632E78}"/>
              </a:ext>
            </a:extLst>
          </p:cNvPr>
          <p:cNvSpPr txBox="1"/>
          <p:nvPr/>
        </p:nvSpPr>
        <p:spPr>
          <a:xfrm>
            <a:off x="3595338" y="3738949"/>
            <a:ext cx="2678920" cy="553998"/>
          </a:xfrm>
          <a:prstGeom prst="rect">
            <a:avLst/>
          </a:prstGeom>
          <a:solidFill>
            <a:srgbClr val="008000">
              <a:alpha val="80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u="sng" dirty="0">
                <a:solidFill>
                  <a:schemeClr val="bg1"/>
                </a:solidFill>
              </a:rPr>
              <a:t>product-determining barrier</a:t>
            </a:r>
          </a:p>
          <a:p>
            <a:endParaRPr lang="en-US" u="sng" dirty="0">
              <a:solidFill>
                <a:schemeClr val="bg1"/>
              </a:solidFill>
            </a:endParaRPr>
          </a:p>
          <a:p>
            <a:r>
              <a:rPr lang="el-GR" dirty="0">
                <a:solidFill>
                  <a:schemeClr val="bg1"/>
                </a:solidFill>
              </a:rPr>
              <a:t>ΔΔ</a:t>
            </a:r>
            <a:r>
              <a:rPr lang="en-US" dirty="0">
                <a:solidFill>
                  <a:schemeClr val="bg1"/>
                </a:solidFill>
              </a:rPr>
              <a:t>G(1-hexene/1-octene) = 3.1 – 0.6 = 2.5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00EA626C-3E7F-DC8E-A229-9D9BC49B3A5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53467" y="94182"/>
          <a:ext cx="617221" cy="6079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3" imgW="1052493" imgH="1037428" progId="ChemDraw.Document.6.0">
                  <p:embed/>
                </p:oleObj>
              </mc:Choice>
              <mc:Fallback>
                <p:oleObj name="CS ChemDraw Drawing" r:id="rId33" imgW="1052493" imgH="1037428" progId="ChemDraw.Document.6.0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00EA626C-3E7F-DC8E-A229-9D9BC49B3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53467" y="94182"/>
                        <a:ext cx="617221" cy="6079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FDBF8E1D-5A11-0B26-15CA-84DC54330625}"/>
              </a:ext>
            </a:extLst>
          </p:cNvPr>
          <p:cNvSpPr txBox="1"/>
          <p:nvPr/>
        </p:nvSpPr>
        <p:spPr>
          <a:xfrm>
            <a:off x="6318315" y="3362615"/>
            <a:ext cx="276995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Ethylene-assisted BHT explains why increased ethylene pressure does not yield higher 1-C</a:t>
            </a:r>
            <a:r>
              <a:rPr lang="en-US" sz="1400" b="1" baseline="-25000" dirty="0"/>
              <a:t>8</a:t>
            </a:r>
            <a:r>
              <a:rPr lang="en-US" sz="1400" b="1" dirty="0"/>
              <a:t>/1-C</a:t>
            </a:r>
            <a:r>
              <a:rPr lang="en-US" sz="1400" b="1" baseline="-25000" dirty="0"/>
              <a:t>6</a:t>
            </a:r>
            <a:endParaRPr lang="en-US" sz="1400" b="1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1E72D1E-BC01-54EA-F13A-CBF330C85C89}"/>
              </a:ext>
            </a:extLst>
          </p:cNvPr>
          <p:cNvSpPr/>
          <p:nvPr/>
        </p:nvSpPr>
        <p:spPr>
          <a:xfrm>
            <a:off x="6531292" y="1840144"/>
            <a:ext cx="1853753" cy="752057"/>
          </a:xfrm>
          <a:prstGeom prst="roundRect">
            <a:avLst/>
          </a:prstGeom>
          <a:noFill/>
          <a:ln w="1905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3C4F3B74-7192-C007-B629-B66AF69148A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61120491"/>
              </p:ext>
            </p:extLst>
          </p:nvPr>
        </p:nvGraphicFramePr>
        <p:xfrm>
          <a:off x="5933037" y="1270555"/>
          <a:ext cx="460375" cy="715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5" imgW="461144" imgH="715789" progId="ChemDraw.Document.6.0">
                  <p:embed/>
                </p:oleObj>
              </mc:Choice>
              <mc:Fallback>
                <p:oleObj name="CS ChemDraw Drawing" r:id="rId15" imgW="461144" imgH="715789" progId="ChemDraw.Document.6.0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3C4F3B74-7192-C007-B629-B66AF69148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5933037" y="1270555"/>
                        <a:ext cx="460375" cy="715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23051C6D-943C-44BE-81CF-FF51DD4C706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24764345"/>
              </p:ext>
            </p:extLst>
          </p:nvPr>
        </p:nvGraphicFramePr>
        <p:xfrm>
          <a:off x="6536487" y="1862694"/>
          <a:ext cx="612775" cy="715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1" imgW="613544" imgH="715789" progId="ChemDraw.Document.6.0">
                  <p:embed/>
                </p:oleObj>
              </mc:Choice>
              <mc:Fallback>
                <p:oleObj name="CS ChemDraw Drawing" r:id="rId31" imgW="613544" imgH="715789" progId="ChemDraw.Document.6.0">
                  <p:embed/>
                  <p:pic>
                    <p:nvPicPr>
                      <p:cNvPr id="11" name="Object 10">
                        <a:extLst>
                          <a:ext uri="{FF2B5EF4-FFF2-40B4-BE49-F238E27FC236}">
                            <a16:creationId xmlns:a16="http://schemas.microsoft.com/office/drawing/2014/main" id="{23051C6D-943C-44BE-81CF-FF51DD4C70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6536487" y="1862694"/>
                        <a:ext cx="612775" cy="715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96619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  <p:bldP spid="5" grpId="0"/>
      <p:bldP spid="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schemeClr val="accent5">
                  <a:lumMod val="75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502DCA6-B81F-44F5-9F01-51C32F7F2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Ligand </a:t>
            </a:r>
            <a:r>
              <a:rPr lang="en-US" u="sng" dirty="0"/>
              <a:t>Bulk</a:t>
            </a:r>
            <a:r>
              <a:rPr lang="en-US" dirty="0"/>
              <a:t> Correlates with Total LAO (1-C</a:t>
            </a:r>
            <a:r>
              <a:rPr lang="en-US" baseline="-25000" dirty="0"/>
              <a:t>6</a:t>
            </a:r>
            <a:r>
              <a:rPr lang="en-US" dirty="0"/>
              <a:t> + 1-C</a:t>
            </a:r>
            <a:r>
              <a:rPr lang="en-US" baseline="-25000" dirty="0"/>
              <a:t>8</a:t>
            </a:r>
            <a:r>
              <a:rPr lang="en-US" dirty="0"/>
              <a:t>) </a:t>
            </a:r>
            <a:r>
              <a:rPr lang="en-US" dirty="0" err="1"/>
              <a:t>wt</a:t>
            </a:r>
            <a:r>
              <a:rPr lang="en-US" dirty="0"/>
              <a:t>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924EEA-AF5D-4957-8EC5-4C4E4E0EC2DB}"/>
              </a:ext>
            </a:extLst>
          </p:cNvPr>
          <p:cNvSpPr txBox="1"/>
          <p:nvPr/>
        </p:nvSpPr>
        <p:spPr>
          <a:xfrm>
            <a:off x="124389" y="721735"/>
            <a:ext cx="2700932" cy="1138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u="sng" dirty="0"/>
              <a:t>Buried Volume @ Nitrogen: %</a:t>
            </a:r>
            <a:r>
              <a:rPr lang="en-US" sz="1200" u="sng" dirty="0" err="1"/>
              <a:t>V</a:t>
            </a:r>
            <a:r>
              <a:rPr lang="en-US" sz="1200" u="sng" baseline="-25000" dirty="0" err="1"/>
              <a:t>Bur</a:t>
            </a:r>
            <a:r>
              <a:rPr lang="en-US" sz="1200" u="sng" dirty="0"/>
              <a:t>(N)</a:t>
            </a:r>
          </a:p>
          <a:p>
            <a:endParaRPr lang="en-US" sz="1200" u="sng" baseline="-25000" dirty="0"/>
          </a:p>
          <a:p>
            <a:r>
              <a:rPr lang="en-US" sz="1200" dirty="0"/>
              <a:t>Calculated with </a:t>
            </a:r>
            <a:r>
              <a:rPr lang="en-US" sz="1200" dirty="0" err="1"/>
              <a:t>SambVca</a:t>
            </a:r>
            <a:r>
              <a:rPr lang="en-US" sz="1200" dirty="0"/>
              <a:t> </a:t>
            </a:r>
          </a:p>
          <a:p>
            <a:r>
              <a:rPr lang="en-US" sz="1200" dirty="0"/>
              <a:t>(Prof. Cavallo, KAUST)</a:t>
            </a:r>
          </a:p>
          <a:p>
            <a:endParaRPr lang="en-US" sz="1200" dirty="0"/>
          </a:p>
          <a:p>
            <a:r>
              <a:rPr lang="en-US" sz="1200" dirty="0"/>
              <a:t>Calculable for </a:t>
            </a:r>
            <a:r>
              <a:rPr lang="en-US" sz="1200" b="1" dirty="0"/>
              <a:t>all</a:t>
            </a:r>
            <a:r>
              <a:rPr lang="en-US" sz="1200" dirty="0"/>
              <a:t> PNP ligand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16BD868-2BA9-432B-AE94-808C6B28EE80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8484" y="1444838"/>
            <a:ext cx="2663969" cy="2663969"/>
          </a:xfrm>
          <a:prstGeom prst="rect">
            <a:avLst/>
          </a:prstGeom>
        </p:spPr>
      </p:pic>
      <p:grpSp>
        <p:nvGrpSpPr>
          <p:cNvPr id="83" name="Group 82">
            <a:extLst>
              <a:ext uri="{FF2B5EF4-FFF2-40B4-BE49-F238E27FC236}">
                <a16:creationId xmlns:a16="http://schemas.microsoft.com/office/drawing/2014/main" id="{32630EC1-3C52-4837-B319-9FD0EE8ADE19}"/>
              </a:ext>
            </a:extLst>
          </p:cNvPr>
          <p:cNvGrpSpPr/>
          <p:nvPr/>
        </p:nvGrpSpPr>
        <p:grpSpPr>
          <a:xfrm>
            <a:off x="954975" y="3810143"/>
            <a:ext cx="862784" cy="798099"/>
            <a:chOff x="5913393" y="3139717"/>
            <a:chExt cx="1150379" cy="1064132"/>
          </a:xfrm>
        </p:grpSpPr>
        <p:graphicFrame>
          <p:nvGraphicFramePr>
            <p:cNvPr id="84" name="Object 83">
              <a:extLst>
                <a:ext uri="{FF2B5EF4-FFF2-40B4-BE49-F238E27FC236}">
                  <a16:creationId xmlns:a16="http://schemas.microsoft.com/office/drawing/2014/main" id="{A5E9972E-701E-42D6-B386-B87358AEF650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6032566" y="3377191"/>
            <a:ext cx="957263" cy="7239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8" imgW="956699" imgH="723207" progId="ChemDraw.Document.6.0">
                    <p:embed/>
                  </p:oleObj>
                </mc:Choice>
                <mc:Fallback>
                  <p:oleObj name="CS ChemDraw Drawing" r:id="rId8" imgW="956699" imgH="723207" progId="ChemDraw.Document.6.0">
                    <p:embed/>
                    <p:pic>
                      <p:nvPicPr>
                        <p:cNvPr id="84" name="Object 83">
                          <a:extLst>
                            <a:ext uri="{FF2B5EF4-FFF2-40B4-BE49-F238E27FC236}">
                              <a16:creationId xmlns:a16="http://schemas.microsoft.com/office/drawing/2014/main" id="{A5E9972E-701E-42D6-B386-B87358AEF650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9"/>
                        <a:stretch>
                          <a:fillRect/>
                        </a:stretch>
                      </p:blipFill>
                      <p:spPr>
                        <a:xfrm>
                          <a:off x="6032566" y="3377191"/>
                          <a:ext cx="957263" cy="7239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B1CC4CE3-8633-4335-A2CC-7364C395C375}"/>
                </a:ext>
              </a:extLst>
            </p:cNvPr>
            <p:cNvSpPr/>
            <p:nvPr/>
          </p:nvSpPr>
          <p:spPr>
            <a:xfrm>
              <a:off x="6218091" y="3139717"/>
              <a:ext cx="605772" cy="605772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21446711-AC75-4AD2-BCB4-FC5D75FC4E8C}"/>
                </a:ext>
              </a:extLst>
            </p:cNvPr>
            <p:cNvSpPr/>
            <p:nvPr/>
          </p:nvSpPr>
          <p:spPr>
            <a:xfrm>
              <a:off x="5913393" y="3435125"/>
              <a:ext cx="524157" cy="524157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24B6B555-CBEC-4DF3-BC8B-835E21ECCC58}"/>
                </a:ext>
              </a:extLst>
            </p:cNvPr>
            <p:cNvSpPr/>
            <p:nvPr/>
          </p:nvSpPr>
          <p:spPr>
            <a:xfrm>
              <a:off x="6539615" y="3435124"/>
              <a:ext cx="524157" cy="524157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CE246C8B-3048-4764-8F1C-DF1373233F33}"/>
                </a:ext>
              </a:extLst>
            </p:cNvPr>
            <p:cNvSpPr/>
            <p:nvPr/>
          </p:nvSpPr>
          <p:spPr>
            <a:xfrm>
              <a:off x="6373227" y="3667087"/>
              <a:ext cx="268381" cy="268381"/>
            </a:xfrm>
            <a:prstGeom prst="ellipse">
              <a:avLst/>
            </a:prstGeom>
            <a:solidFill>
              <a:srgbClr val="0066FF">
                <a:alpha val="24706"/>
              </a:srgbClr>
            </a:solidFill>
            <a:ln>
              <a:solidFill>
                <a:schemeClr val="tx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D808188D-E0D4-44C5-A1BE-EEC3C47BC46A}"/>
                </a:ext>
              </a:extLst>
            </p:cNvPr>
            <p:cNvSpPr/>
            <p:nvPr/>
          </p:nvSpPr>
          <p:spPr>
            <a:xfrm>
              <a:off x="6373227" y="3843260"/>
              <a:ext cx="268381" cy="268381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BAEA9DD4-27EA-4B21-8EA7-EFEFEB3A2ABB}"/>
                </a:ext>
              </a:extLst>
            </p:cNvPr>
            <p:cNvSpPr/>
            <p:nvPr/>
          </p:nvSpPr>
          <p:spPr>
            <a:xfrm>
              <a:off x="6528363" y="3935468"/>
              <a:ext cx="268381" cy="268381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39440F53-2E82-4D97-890C-D81369CFDD89}"/>
                </a:ext>
              </a:extLst>
            </p:cNvPr>
            <p:cNvSpPr/>
            <p:nvPr/>
          </p:nvSpPr>
          <p:spPr>
            <a:xfrm>
              <a:off x="6218091" y="3935468"/>
              <a:ext cx="268381" cy="268381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36BC04DA-C947-4F7C-B282-FF444B08B16D}"/>
              </a:ext>
            </a:extLst>
          </p:cNvPr>
          <p:cNvGrpSpPr/>
          <p:nvPr/>
        </p:nvGrpSpPr>
        <p:grpSpPr>
          <a:xfrm>
            <a:off x="3529836" y="656800"/>
            <a:ext cx="2202148" cy="799139"/>
            <a:chOff x="4693318" y="870624"/>
            <a:chExt cx="2936197" cy="1065518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F4A49618-C71D-456C-ACF2-DA95CAB4ED8E}"/>
                </a:ext>
              </a:extLst>
            </p:cNvPr>
            <p:cNvSpPr/>
            <p:nvPr/>
          </p:nvSpPr>
          <p:spPr>
            <a:xfrm>
              <a:off x="6765604" y="1421085"/>
              <a:ext cx="64376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50000"/>
                    </a:schemeClr>
                  </a:solidFill>
                </a:rPr>
                <a:t>88.9</a:t>
              </a:r>
              <a:endParaRPr lang="en-US" sz="1200" dirty="0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7D00732B-4D63-416A-A2EC-9E94A6520960}"/>
                </a:ext>
              </a:extLst>
            </p:cNvPr>
            <p:cNvSpPr/>
            <p:nvPr/>
          </p:nvSpPr>
          <p:spPr>
            <a:xfrm>
              <a:off x="6545458" y="870624"/>
              <a:ext cx="108405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b="1" dirty="0">
                  <a:solidFill>
                    <a:schemeClr val="tx1">
                      <a:lumMod val="50000"/>
                    </a:schemeClr>
                  </a:solidFill>
                </a:rPr>
                <a:t>%</a:t>
              </a:r>
              <a:r>
                <a:rPr lang="en-US" sz="1200" b="1" dirty="0" err="1">
                  <a:solidFill>
                    <a:schemeClr val="tx1">
                      <a:lumMod val="50000"/>
                    </a:schemeClr>
                  </a:solidFill>
                </a:rPr>
                <a:t>V</a:t>
              </a:r>
              <a:r>
                <a:rPr lang="en-US" sz="1200" b="1" baseline="-25000" dirty="0" err="1">
                  <a:solidFill>
                    <a:schemeClr val="tx1">
                      <a:lumMod val="50000"/>
                    </a:schemeClr>
                  </a:solidFill>
                </a:rPr>
                <a:t>Bur</a:t>
              </a:r>
              <a:r>
                <a:rPr lang="en-US" sz="1200" b="1" dirty="0">
                  <a:solidFill>
                    <a:schemeClr val="tx1">
                      <a:lumMod val="50000"/>
                    </a:schemeClr>
                  </a:solidFill>
                </a:rPr>
                <a:t>(N)</a:t>
              </a:r>
              <a:endParaRPr lang="en-US" sz="1200" b="1" dirty="0"/>
            </a:p>
          </p:txBody>
        </p:sp>
        <p:graphicFrame>
          <p:nvGraphicFramePr>
            <p:cNvPr id="69" name="Object 68">
              <a:extLst>
                <a:ext uri="{FF2B5EF4-FFF2-40B4-BE49-F238E27FC236}">
                  <a16:creationId xmlns:a16="http://schemas.microsoft.com/office/drawing/2014/main" id="{EF046AFA-9552-455C-9958-C6CA9D58F4FB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4693318" y="1242232"/>
            <a:ext cx="1243541" cy="69391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0" imgW="862149" imgH="481307" progId="ChemDraw.Document.6.0">
                    <p:embed/>
                  </p:oleObj>
                </mc:Choice>
                <mc:Fallback>
                  <p:oleObj name="CS ChemDraw Drawing" r:id="rId10" imgW="862149" imgH="481307" progId="ChemDraw.Document.6.0">
                    <p:embed/>
                    <p:pic>
                      <p:nvPicPr>
                        <p:cNvPr id="69" name="Object 68">
                          <a:extLst>
                            <a:ext uri="{FF2B5EF4-FFF2-40B4-BE49-F238E27FC236}">
                              <a16:creationId xmlns:a16="http://schemas.microsoft.com/office/drawing/2014/main" id="{EF046AFA-9552-455C-9958-C6CA9D58F4FB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1"/>
                        <a:stretch>
                          <a:fillRect/>
                        </a:stretch>
                      </p:blipFill>
                      <p:spPr>
                        <a:xfrm>
                          <a:off x="4693318" y="1242232"/>
                          <a:ext cx="1243541" cy="69391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5E82C244-8ADD-4DBD-B560-576729213D44}"/>
                </a:ext>
              </a:extLst>
            </p:cNvPr>
            <p:cNvSpPr txBox="1"/>
            <p:nvPr/>
          </p:nvSpPr>
          <p:spPr>
            <a:xfrm>
              <a:off x="6217499" y="1434444"/>
              <a:ext cx="3920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bg2"/>
                  </a:solidFill>
                </a:rPr>
                <a:t>A</a:t>
              </a:r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58A3F0F3-4ADF-4AC3-8877-73AEB1E61242}"/>
              </a:ext>
            </a:extLst>
          </p:cNvPr>
          <p:cNvGrpSpPr/>
          <p:nvPr/>
        </p:nvGrpSpPr>
        <p:grpSpPr>
          <a:xfrm>
            <a:off x="3320747" y="1482139"/>
            <a:ext cx="2236280" cy="699062"/>
            <a:chOff x="4427663" y="1976184"/>
            <a:chExt cx="2981706" cy="932083"/>
          </a:xfrm>
        </p:grpSpPr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855A51B4-E991-4FDE-B26A-310CA01B4420}"/>
                </a:ext>
              </a:extLst>
            </p:cNvPr>
            <p:cNvSpPr txBox="1"/>
            <p:nvPr/>
          </p:nvSpPr>
          <p:spPr>
            <a:xfrm>
              <a:off x="6765604" y="2484106"/>
              <a:ext cx="64376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50000"/>
                    </a:schemeClr>
                  </a:solidFill>
                </a:rPr>
                <a:t>88.5</a:t>
              </a:r>
            </a:p>
          </p:txBody>
        </p:sp>
        <p:graphicFrame>
          <p:nvGraphicFramePr>
            <p:cNvPr id="70" name="Object 69">
              <a:extLst>
                <a:ext uri="{FF2B5EF4-FFF2-40B4-BE49-F238E27FC236}">
                  <a16:creationId xmlns:a16="http://schemas.microsoft.com/office/drawing/2014/main" id="{29443505-0F5E-4B51-A747-AB6E96BF18F7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4427663" y="1976184"/>
            <a:ext cx="1774850" cy="93208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2" imgW="1229775" imgH="645899" progId="ChemDraw.Document.6.0">
                    <p:embed/>
                  </p:oleObj>
                </mc:Choice>
                <mc:Fallback>
                  <p:oleObj name="CS ChemDraw Drawing" r:id="rId12" imgW="1229775" imgH="645899" progId="ChemDraw.Document.6.0">
                    <p:embed/>
                    <p:pic>
                      <p:nvPicPr>
                        <p:cNvPr id="70" name="Object 69">
                          <a:extLst>
                            <a:ext uri="{FF2B5EF4-FFF2-40B4-BE49-F238E27FC236}">
                              <a16:creationId xmlns:a16="http://schemas.microsoft.com/office/drawing/2014/main" id="{29443505-0F5E-4B51-A747-AB6E96BF18F7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3"/>
                        <a:stretch>
                          <a:fillRect/>
                        </a:stretch>
                      </p:blipFill>
                      <p:spPr>
                        <a:xfrm>
                          <a:off x="4427663" y="1976184"/>
                          <a:ext cx="1774850" cy="932083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923401AF-9C75-4C6F-8FB6-A2D17A6BE549}"/>
                </a:ext>
              </a:extLst>
            </p:cNvPr>
            <p:cNvSpPr txBox="1"/>
            <p:nvPr/>
          </p:nvSpPr>
          <p:spPr>
            <a:xfrm>
              <a:off x="6217498" y="2489954"/>
              <a:ext cx="3920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bg2"/>
                  </a:solidFill>
                </a:rPr>
                <a:t>B</a:t>
              </a: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5C05A748-C8E0-4BEB-8027-CE7082887BFC}"/>
              </a:ext>
            </a:extLst>
          </p:cNvPr>
          <p:cNvGrpSpPr/>
          <p:nvPr/>
        </p:nvGrpSpPr>
        <p:grpSpPr>
          <a:xfrm>
            <a:off x="3280383" y="2295706"/>
            <a:ext cx="2276643" cy="1037429"/>
            <a:chOff x="4373845" y="3060941"/>
            <a:chExt cx="3035525" cy="1383238"/>
          </a:xfrm>
        </p:grpSpPr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4B43F788-2867-4E71-9354-655C7BF27C93}"/>
                </a:ext>
              </a:extLst>
            </p:cNvPr>
            <p:cNvSpPr txBox="1"/>
            <p:nvPr/>
          </p:nvSpPr>
          <p:spPr>
            <a:xfrm>
              <a:off x="6765605" y="3567894"/>
              <a:ext cx="64376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50000"/>
                    </a:schemeClr>
                  </a:solidFill>
                </a:rPr>
                <a:t>88.5</a:t>
              </a:r>
            </a:p>
          </p:txBody>
        </p:sp>
        <p:graphicFrame>
          <p:nvGraphicFramePr>
            <p:cNvPr id="71" name="Object 70">
              <a:extLst>
                <a:ext uri="{FF2B5EF4-FFF2-40B4-BE49-F238E27FC236}">
                  <a16:creationId xmlns:a16="http://schemas.microsoft.com/office/drawing/2014/main" id="{40B69087-2329-4CC1-8726-C679D8DABF58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4373845" y="3060941"/>
            <a:ext cx="1882486" cy="138323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4" imgW="1305664" imgH="959497" progId="ChemDraw.Document.6.0">
                    <p:embed/>
                  </p:oleObj>
                </mc:Choice>
                <mc:Fallback>
                  <p:oleObj name="CS ChemDraw Drawing" r:id="rId14" imgW="1305664" imgH="959497" progId="ChemDraw.Document.6.0">
                    <p:embed/>
                    <p:pic>
                      <p:nvPicPr>
                        <p:cNvPr id="71" name="Object 70">
                          <a:extLst>
                            <a:ext uri="{FF2B5EF4-FFF2-40B4-BE49-F238E27FC236}">
                              <a16:creationId xmlns:a16="http://schemas.microsoft.com/office/drawing/2014/main" id="{40B69087-2329-4CC1-8726-C679D8DABF58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5"/>
                        <a:stretch>
                          <a:fillRect/>
                        </a:stretch>
                      </p:blipFill>
                      <p:spPr>
                        <a:xfrm>
                          <a:off x="4373845" y="3060941"/>
                          <a:ext cx="1882486" cy="1383238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C4D56D30-D830-47AB-8DBF-110CF34A0250}"/>
                </a:ext>
              </a:extLst>
            </p:cNvPr>
            <p:cNvSpPr txBox="1"/>
            <p:nvPr/>
          </p:nvSpPr>
          <p:spPr>
            <a:xfrm>
              <a:off x="6217499" y="3567894"/>
              <a:ext cx="3920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bg2"/>
                  </a:solidFill>
                </a:rPr>
                <a:t>C</a:t>
              </a: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4DC90420-E711-4E62-9E29-DA966C5001B7}"/>
              </a:ext>
            </a:extLst>
          </p:cNvPr>
          <p:cNvGrpSpPr/>
          <p:nvPr/>
        </p:nvGrpSpPr>
        <p:grpSpPr>
          <a:xfrm>
            <a:off x="2995328" y="3217435"/>
            <a:ext cx="2561699" cy="1427324"/>
            <a:chOff x="3993771" y="4289913"/>
            <a:chExt cx="3415598" cy="1903098"/>
          </a:xfrm>
        </p:grpSpPr>
        <p:graphicFrame>
          <p:nvGraphicFramePr>
            <p:cNvPr id="72" name="Object 71">
              <a:extLst>
                <a:ext uri="{FF2B5EF4-FFF2-40B4-BE49-F238E27FC236}">
                  <a16:creationId xmlns:a16="http://schemas.microsoft.com/office/drawing/2014/main" id="{0FA452BC-A363-4248-B08A-574304ECE7BD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3993771" y="4289913"/>
            <a:ext cx="2207684" cy="190309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6" imgW="1530842" imgH="1319230" progId="ChemDraw.Document.6.0">
                    <p:embed/>
                  </p:oleObj>
                </mc:Choice>
                <mc:Fallback>
                  <p:oleObj name="CS ChemDraw Drawing" r:id="rId16" imgW="1530842" imgH="1319230" progId="ChemDraw.Document.6.0">
                    <p:embed/>
                    <p:pic>
                      <p:nvPicPr>
                        <p:cNvPr id="72" name="Object 71">
                          <a:extLst>
                            <a:ext uri="{FF2B5EF4-FFF2-40B4-BE49-F238E27FC236}">
                              <a16:creationId xmlns:a16="http://schemas.microsoft.com/office/drawing/2014/main" id="{0FA452BC-A363-4248-B08A-574304ECE7BD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7"/>
                        <a:stretch>
                          <a:fillRect/>
                        </a:stretch>
                      </p:blipFill>
                      <p:spPr>
                        <a:xfrm>
                          <a:off x="3993771" y="4289913"/>
                          <a:ext cx="2207684" cy="1903098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DF6997B0-6D15-4EF3-B5E3-336512A90D44}"/>
                </a:ext>
              </a:extLst>
            </p:cNvPr>
            <p:cNvSpPr txBox="1"/>
            <p:nvPr/>
          </p:nvSpPr>
          <p:spPr>
            <a:xfrm>
              <a:off x="6765604" y="5295961"/>
              <a:ext cx="64376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50000"/>
                    </a:schemeClr>
                  </a:solidFill>
                </a:rPr>
                <a:t>91.1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0C3D9F40-AC86-4398-9FFE-6D55D4361425}"/>
                </a:ext>
              </a:extLst>
            </p:cNvPr>
            <p:cNvSpPr txBox="1"/>
            <p:nvPr/>
          </p:nvSpPr>
          <p:spPr>
            <a:xfrm>
              <a:off x="6217498" y="5305977"/>
              <a:ext cx="1479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bg2"/>
                  </a:solidFill>
                </a:rPr>
                <a:t>D</a:t>
              </a: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CA1C4A68-2606-4E0A-8BCB-7503408F4D71}"/>
              </a:ext>
            </a:extLst>
          </p:cNvPr>
          <p:cNvGrpSpPr/>
          <p:nvPr/>
        </p:nvGrpSpPr>
        <p:grpSpPr>
          <a:xfrm>
            <a:off x="7819216" y="1235163"/>
            <a:ext cx="588934" cy="3516173"/>
            <a:chOff x="10425621" y="1646884"/>
            <a:chExt cx="785245" cy="4688230"/>
          </a:xfrm>
        </p:grpSpPr>
        <p:pic>
          <p:nvPicPr>
            <p:cNvPr id="134" name="Picture 133">
              <a:extLst>
                <a:ext uri="{FF2B5EF4-FFF2-40B4-BE49-F238E27FC236}">
                  <a16:creationId xmlns:a16="http://schemas.microsoft.com/office/drawing/2014/main" id="{1C0DCA96-7CF7-4355-B150-D9748E7D78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/>
            <a:srcRect l="72589" r="1546"/>
            <a:stretch/>
          </p:blipFill>
          <p:spPr>
            <a:xfrm>
              <a:off x="10425621" y="1646884"/>
              <a:ext cx="785245" cy="4688230"/>
            </a:xfrm>
            <a:prstGeom prst="rect">
              <a:avLst/>
            </a:prstGeom>
          </p:spPr>
        </p:pic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51A35604-3534-4BD0-B2D5-482CADB4153F}"/>
                </a:ext>
              </a:extLst>
            </p:cNvPr>
            <p:cNvSpPr txBox="1"/>
            <p:nvPr/>
          </p:nvSpPr>
          <p:spPr>
            <a:xfrm>
              <a:off x="10602724" y="3965914"/>
              <a:ext cx="1479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bg2"/>
                  </a:solidFill>
                </a:rPr>
                <a:t>D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1DCE31BD-4A17-432F-9385-4DCFE59DB02A}"/>
                </a:ext>
              </a:extLst>
            </p:cNvPr>
            <p:cNvSpPr txBox="1"/>
            <p:nvPr/>
          </p:nvSpPr>
          <p:spPr>
            <a:xfrm>
              <a:off x="10602724" y="1795943"/>
              <a:ext cx="1479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bg2"/>
                  </a:solidFill>
                </a:rPr>
                <a:t>D</a:t>
              </a:r>
            </a:p>
          </p:txBody>
        </p: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B807DF36-8923-497F-B31C-6AE696A277AA}"/>
              </a:ext>
            </a:extLst>
          </p:cNvPr>
          <p:cNvGrpSpPr/>
          <p:nvPr/>
        </p:nvGrpSpPr>
        <p:grpSpPr>
          <a:xfrm>
            <a:off x="6163953" y="594671"/>
            <a:ext cx="2266173" cy="4156665"/>
            <a:chOff x="8217936" y="789084"/>
            <a:chExt cx="3021564" cy="5542220"/>
          </a:xfrm>
        </p:grpSpPr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FBC9EF26-06B6-4EA0-94CC-831AAB01CD1E}"/>
                </a:ext>
              </a:extLst>
            </p:cNvPr>
            <p:cNvSpPr txBox="1"/>
            <p:nvPr/>
          </p:nvSpPr>
          <p:spPr>
            <a:xfrm>
              <a:off x="9477686" y="2309389"/>
              <a:ext cx="3920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bg2"/>
                  </a:solidFill>
                </a:rPr>
                <a:t>A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6BBCAD9F-6CC5-4A59-AE38-E54C8923025F}"/>
                </a:ext>
              </a:extLst>
            </p:cNvPr>
            <p:cNvSpPr txBox="1"/>
            <p:nvPr/>
          </p:nvSpPr>
          <p:spPr>
            <a:xfrm>
              <a:off x="9281502" y="2944512"/>
              <a:ext cx="3920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bg2"/>
                  </a:solidFill>
                </a:rPr>
                <a:t>B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E66B972E-D974-4EBE-8357-F3B792742A02}"/>
                </a:ext>
              </a:extLst>
            </p:cNvPr>
            <p:cNvSpPr txBox="1"/>
            <p:nvPr/>
          </p:nvSpPr>
          <p:spPr>
            <a:xfrm>
              <a:off x="9299320" y="3291021"/>
              <a:ext cx="3920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bg2"/>
                  </a:solidFill>
                </a:rPr>
                <a:t>C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B582FC28-89A8-4B6A-B1AC-BE7593B564D5}"/>
                </a:ext>
              </a:extLst>
            </p:cNvPr>
            <p:cNvSpPr txBox="1"/>
            <p:nvPr/>
          </p:nvSpPr>
          <p:spPr>
            <a:xfrm>
              <a:off x="9477688" y="4499391"/>
              <a:ext cx="3920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bg2"/>
                  </a:solidFill>
                </a:rPr>
                <a:t>A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0A995B0D-FB62-4364-9A2B-DDCCCC2A629B}"/>
                </a:ext>
              </a:extLst>
            </p:cNvPr>
            <p:cNvSpPr txBox="1"/>
            <p:nvPr/>
          </p:nvSpPr>
          <p:spPr>
            <a:xfrm>
              <a:off x="9200145" y="5109423"/>
              <a:ext cx="3920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bg2"/>
                  </a:solidFill>
                </a:rPr>
                <a:t>B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15C96BA4-9D6C-41A2-94D6-765A42EA9016}"/>
                </a:ext>
              </a:extLst>
            </p:cNvPr>
            <p:cNvSpPr txBox="1"/>
            <p:nvPr/>
          </p:nvSpPr>
          <p:spPr>
            <a:xfrm>
              <a:off x="9199977" y="4884787"/>
              <a:ext cx="3920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bg2"/>
                  </a:solidFill>
                </a:rPr>
                <a:t>C</a:t>
              </a:r>
            </a:p>
          </p:txBody>
        </p:sp>
        <p:graphicFrame>
          <p:nvGraphicFramePr>
            <p:cNvPr id="113" name="Object 112">
              <a:extLst>
                <a:ext uri="{FF2B5EF4-FFF2-40B4-BE49-F238E27FC236}">
                  <a16:creationId xmlns:a16="http://schemas.microsoft.com/office/drawing/2014/main" id="{B482082F-8482-477D-AADF-9F966451D447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8355793" y="789084"/>
            <a:ext cx="2883707" cy="92809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9" imgW="2474478" imgH="793658" progId="ChemDraw.Document.6.0">
                    <p:embed/>
                  </p:oleObj>
                </mc:Choice>
                <mc:Fallback>
                  <p:oleObj name="CS ChemDraw Drawing" r:id="rId19" imgW="2474478" imgH="793658" progId="ChemDraw.Document.6.0">
                    <p:embed/>
                    <p:pic>
                      <p:nvPicPr>
                        <p:cNvPr id="113" name="Object 112">
                          <a:extLst>
                            <a:ext uri="{FF2B5EF4-FFF2-40B4-BE49-F238E27FC236}">
                              <a16:creationId xmlns:a16="http://schemas.microsoft.com/office/drawing/2014/main" id="{B482082F-8482-477D-AADF-9F966451D447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20"/>
                        <a:stretch>
                          <a:fillRect/>
                        </a:stretch>
                      </p:blipFill>
                      <p:spPr>
                        <a:xfrm>
                          <a:off x="8355793" y="789084"/>
                          <a:ext cx="2883707" cy="928091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27" name="Picture 126">
              <a:extLst>
                <a:ext uri="{FF2B5EF4-FFF2-40B4-BE49-F238E27FC236}">
                  <a16:creationId xmlns:a16="http://schemas.microsoft.com/office/drawing/2014/main" id="{CA63E9C4-E4BB-4A5F-ADC2-FE90C77E46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/>
            <a:srcRect r="27285"/>
            <a:stretch/>
          </p:blipFill>
          <p:spPr>
            <a:xfrm>
              <a:off x="8217936" y="1643074"/>
              <a:ext cx="2207685" cy="4688230"/>
            </a:xfrm>
            <a:prstGeom prst="rect">
              <a:avLst/>
            </a:prstGeom>
          </p:spPr>
        </p:pic>
      </p:grpSp>
      <p:graphicFrame>
        <p:nvGraphicFramePr>
          <p:cNvPr id="140" name="Object 139">
            <a:extLst>
              <a:ext uri="{FF2B5EF4-FFF2-40B4-BE49-F238E27FC236}">
                <a16:creationId xmlns:a16="http://schemas.microsoft.com/office/drawing/2014/main" id="{C353DB04-6961-45EA-8D7D-154D9C28ED6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53467" y="94182"/>
          <a:ext cx="617221" cy="6079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1" imgW="1052493" imgH="1037428" progId="ChemDraw.Document.6.0">
                  <p:embed/>
                </p:oleObj>
              </mc:Choice>
              <mc:Fallback>
                <p:oleObj name="CS ChemDraw Drawing" r:id="rId21" imgW="1052493" imgH="1037428" progId="ChemDraw.Document.6.0">
                  <p:embed/>
                  <p:pic>
                    <p:nvPicPr>
                      <p:cNvPr id="140" name="Object 139">
                        <a:extLst>
                          <a:ext uri="{FF2B5EF4-FFF2-40B4-BE49-F238E27FC236}">
                            <a16:creationId xmlns:a16="http://schemas.microsoft.com/office/drawing/2014/main" id="{C353DB04-6961-45EA-8D7D-154D9C28ED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53467" y="94182"/>
                        <a:ext cx="617221" cy="6079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tangle 47">
            <a:extLst>
              <a:ext uri="{FF2B5EF4-FFF2-40B4-BE49-F238E27FC236}">
                <a16:creationId xmlns:a16="http://schemas.microsoft.com/office/drawing/2014/main" id="{01BE59BE-5794-43D2-BB64-3502094F8CF3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4B0FDE81-076D-47E7-8589-5AA8B1032D92}"/>
              </a:ext>
            </a:extLst>
          </p:cNvPr>
          <p:cNvSpPr/>
          <p:nvPr/>
        </p:nvSpPr>
        <p:spPr>
          <a:xfrm>
            <a:off x="1931371" y="4648018"/>
            <a:ext cx="528716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Barman, S.; Jaseer, E. A.; Garcia, N.; Elanany, M.; Khawaji, M.; Xu, W.; Lin, S.; </a:t>
            </a:r>
            <a:r>
              <a:rPr lang="en-US" sz="900" dirty="0" err="1"/>
              <a:t>Alasiri</a:t>
            </a:r>
            <a:r>
              <a:rPr lang="en-US" sz="900" dirty="0"/>
              <a:t>, H.; Akhtar, M. N.; </a:t>
            </a:r>
            <a:r>
              <a:rPr lang="en-US" sz="900" dirty="0" err="1"/>
              <a:t>Theravalappil</a:t>
            </a:r>
            <a:r>
              <a:rPr lang="en-US" sz="900" dirty="0"/>
              <a:t>, R. </a:t>
            </a:r>
            <a:r>
              <a:rPr lang="en-US" sz="900" i="1" dirty="0"/>
              <a:t>Chem. </a:t>
            </a:r>
            <a:r>
              <a:rPr lang="en-US" sz="900" i="1" dirty="0" err="1"/>
              <a:t>Commun</a:t>
            </a:r>
            <a:r>
              <a:rPr lang="en-US" sz="900" i="1" dirty="0"/>
              <a:t>. </a:t>
            </a:r>
            <a:r>
              <a:rPr lang="en-US" sz="900" b="1" dirty="0"/>
              <a:t>2022</a:t>
            </a:r>
            <a:r>
              <a:rPr lang="en-US" sz="900" dirty="0"/>
              <a:t>, </a:t>
            </a:r>
            <a:r>
              <a:rPr lang="en-US" sz="900" i="1" dirty="0"/>
              <a:t>58</a:t>
            </a:r>
            <a:r>
              <a:rPr lang="en-US" sz="900" dirty="0"/>
              <a:t>, 10044</a:t>
            </a:r>
          </a:p>
          <a:p>
            <a:r>
              <a:rPr lang="en-US" sz="900" dirty="0"/>
              <a:t>Patent US11484871B1, Nov. 1, 2022. </a:t>
            </a:r>
          </a:p>
        </p:txBody>
      </p:sp>
    </p:spTree>
    <p:extLst>
      <p:ext uri="{BB962C8B-B14F-4D97-AF65-F5344CB8AC3E}">
        <p14:creationId xmlns:p14="http://schemas.microsoft.com/office/powerpoint/2010/main" val="30137920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0A3505D-2BBA-1516-42E2-AF812898B6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 of Digital Chemistry for Ethylene Tetramerization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B4C3B21F-CF41-FF31-E9BB-0DAF4A86B0D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72000515"/>
              </p:ext>
            </p:extLst>
          </p:nvPr>
        </p:nvGraphicFramePr>
        <p:xfrm>
          <a:off x="699305" y="1222685"/>
          <a:ext cx="1875572" cy="33352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" imgW="729654" imgH="1290551" progId="ChemDraw.Document.6.0">
                  <p:embed/>
                </p:oleObj>
              </mc:Choice>
              <mc:Fallback>
                <p:oleObj name="CS ChemDraw Drawing" r:id="rId2" imgW="729654" imgH="1290551" progId="ChemDraw.Document.6.0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B4C3B21F-CF41-FF31-E9BB-0DAF4A86B0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699305" y="1222685"/>
                        <a:ext cx="1875572" cy="33352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20A61E47-44A2-F67D-2260-796E5612D3A4}"/>
              </a:ext>
            </a:extLst>
          </p:cNvPr>
          <p:cNvSpPr txBox="1"/>
          <p:nvPr/>
        </p:nvSpPr>
        <p:spPr>
          <a:xfrm>
            <a:off x="2896056" y="697680"/>
            <a:ext cx="313136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+mn-lt"/>
              </a:rPr>
              <a:t>Reaction mechanism shows why </a:t>
            </a:r>
            <a:br>
              <a:rPr lang="en-US" sz="1400" dirty="0">
                <a:solidFill>
                  <a:schemeClr val="tx2"/>
                </a:solidFill>
                <a:latin typeface="+mn-lt"/>
              </a:rPr>
            </a:br>
            <a:r>
              <a:rPr lang="en-US" sz="1400" dirty="0">
                <a:solidFill>
                  <a:schemeClr val="tx2"/>
                </a:solidFill>
                <a:latin typeface="+mn-lt"/>
              </a:rPr>
              <a:t>1-C</a:t>
            </a:r>
            <a:r>
              <a:rPr lang="en-US" sz="1400" baseline="-25000" dirty="0">
                <a:solidFill>
                  <a:schemeClr val="tx2"/>
                </a:solidFill>
                <a:latin typeface="+mn-lt"/>
              </a:rPr>
              <a:t>8</a:t>
            </a:r>
            <a:r>
              <a:rPr lang="en-US" sz="1400" dirty="0">
                <a:solidFill>
                  <a:schemeClr val="tx2"/>
                </a:solidFill>
                <a:latin typeface="+mn-lt"/>
              </a:rPr>
              <a:t>/1-C</a:t>
            </a:r>
            <a:r>
              <a:rPr lang="en-US" sz="1400" baseline="-25000" dirty="0">
                <a:solidFill>
                  <a:schemeClr val="tx2"/>
                </a:solidFill>
                <a:latin typeface="+mn-lt"/>
              </a:rPr>
              <a:t>6</a:t>
            </a:r>
            <a:r>
              <a:rPr lang="en-US" sz="1400" dirty="0">
                <a:solidFill>
                  <a:schemeClr val="tx2"/>
                </a:solidFill>
                <a:latin typeface="+mn-lt"/>
              </a:rPr>
              <a:t> does not increase indefinitely with ethylene pressu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E9279D7-31E4-2D7D-021D-CA13EEC7835D}"/>
              </a:ext>
            </a:extLst>
          </p:cNvPr>
          <p:cNvSpPr txBox="1"/>
          <p:nvPr/>
        </p:nvSpPr>
        <p:spPr>
          <a:xfrm>
            <a:off x="460044" y="702889"/>
            <a:ext cx="23540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+mj-lt"/>
              </a:rPr>
              <a:t>Ligand stability correlates with PE </a:t>
            </a:r>
            <a:r>
              <a:rPr lang="en-US" sz="1400" dirty="0" err="1">
                <a:solidFill>
                  <a:schemeClr val="tx2"/>
                </a:solidFill>
                <a:latin typeface="+mj-lt"/>
              </a:rPr>
              <a:t>wt</a:t>
            </a:r>
            <a:r>
              <a:rPr lang="en-US" sz="1400" dirty="0">
                <a:solidFill>
                  <a:schemeClr val="tx2"/>
                </a:solidFill>
                <a:latin typeface="+mj-lt"/>
              </a:rPr>
              <a:t>%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8B4CC88-F4EC-C6E4-FCA3-1EA62DFA779F}"/>
              </a:ext>
            </a:extLst>
          </p:cNvPr>
          <p:cNvGrpSpPr/>
          <p:nvPr/>
        </p:nvGrpSpPr>
        <p:grpSpPr>
          <a:xfrm>
            <a:off x="3368819" y="1672232"/>
            <a:ext cx="2263662" cy="1200569"/>
            <a:chOff x="6439709" y="2037139"/>
            <a:chExt cx="2263662" cy="1200569"/>
          </a:xfrm>
        </p:grpSpPr>
        <p:graphicFrame>
          <p:nvGraphicFramePr>
            <p:cNvPr id="23" name="Object 22">
              <a:extLst>
                <a:ext uri="{FF2B5EF4-FFF2-40B4-BE49-F238E27FC236}">
                  <a16:creationId xmlns:a16="http://schemas.microsoft.com/office/drawing/2014/main" id="{44013861-232B-4AE9-7E80-CE742F3DCA8E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039720334"/>
                </p:ext>
              </p:extLst>
            </p:nvPr>
          </p:nvGraphicFramePr>
          <p:xfrm>
            <a:off x="7940351" y="2051080"/>
            <a:ext cx="763020" cy="118662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4" imgW="461144" imgH="715789" progId="ChemDraw.Document.6.0">
                    <p:embed/>
                  </p:oleObj>
                </mc:Choice>
                <mc:Fallback>
                  <p:oleObj name="CS ChemDraw Drawing" r:id="rId4" imgW="461144" imgH="715789" progId="ChemDraw.Document.6.0">
                    <p:embed/>
                    <p:pic>
                      <p:nvPicPr>
                        <p:cNvPr id="23" name="Object 22">
                          <a:extLst>
                            <a:ext uri="{FF2B5EF4-FFF2-40B4-BE49-F238E27FC236}">
                              <a16:creationId xmlns:a16="http://schemas.microsoft.com/office/drawing/2014/main" id="{44013861-232B-4AE9-7E80-CE742F3DCA8E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5"/>
                        <a:stretch>
                          <a:fillRect/>
                        </a:stretch>
                      </p:blipFill>
                      <p:spPr>
                        <a:xfrm>
                          <a:off x="7940351" y="2051080"/>
                          <a:ext cx="763020" cy="1186628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4" name="Object 23">
              <a:extLst>
                <a:ext uri="{FF2B5EF4-FFF2-40B4-BE49-F238E27FC236}">
                  <a16:creationId xmlns:a16="http://schemas.microsoft.com/office/drawing/2014/main" id="{7B88E96D-7335-1984-B6E1-E48A6FCCA49A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475844116"/>
                </p:ext>
              </p:extLst>
            </p:nvPr>
          </p:nvGraphicFramePr>
          <p:xfrm>
            <a:off x="6439709" y="2037139"/>
            <a:ext cx="1015606" cy="118662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6" imgW="613544" imgH="715789" progId="ChemDraw.Document.6.0">
                    <p:embed/>
                  </p:oleObj>
                </mc:Choice>
                <mc:Fallback>
                  <p:oleObj name="CS ChemDraw Drawing" r:id="rId6" imgW="613544" imgH="715789" progId="ChemDraw.Document.6.0">
                    <p:embed/>
                    <p:pic>
                      <p:nvPicPr>
                        <p:cNvPr id="24" name="Object 23">
                          <a:extLst>
                            <a:ext uri="{FF2B5EF4-FFF2-40B4-BE49-F238E27FC236}">
                              <a16:creationId xmlns:a16="http://schemas.microsoft.com/office/drawing/2014/main" id="{7B88E96D-7335-1984-B6E1-E48A6FCCA49A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7"/>
                        <a:stretch>
                          <a:fillRect/>
                        </a:stretch>
                      </p:blipFill>
                      <p:spPr>
                        <a:xfrm>
                          <a:off x="6439709" y="2037139"/>
                          <a:ext cx="1015606" cy="1186627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49C4102-5DDE-D902-7831-891D00B64123}"/>
                </a:ext>
              </a:extLst>
            </p:cNvPr>
            <p:cNvSpPr txBox="1"/>
            <p:nvPr/>
          </p:nvSpPr>
          <p:spPr>
            <a:xfrm>
              <a:off x="7464987" y="2445786"/>
              <a:ext cx="4796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800" dirty="0"/>
                <a:t>vs.</a:t>
              </a:r>
            </a:p>
          </p:txBody>
        </p:sp>
      </p:grpSp>
      <p:graphicFrame>
        <p:nvGraphicFramePr>
          <p:cNvPr id="27" name="Object 26">
            <a:extLst>
              <a:ext uri="{FF2B5EF4-FFF2-40B4-BE49-F238E27FC236}">
                <a16:creationId xmlns:a16="http://schemas.microsoft.com/office/drawing/2014/main" id="{889FD88A-8F1D-916B-BE77-BA16B0F5E35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14226110"/>
              </p:ext>
            </p:extLst>
          </p:nvPr>
        </p:nvGraphicFramePr>
        <p:xfrm>
          <a:off x="4068723" y="3237708"/>
          <a:ext cx="883191" cy="1232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8" imgW="546488" imgH="761668" progId="ChemDraw.Document.6.0">
                  <p:embed/>
                </p:oleObj>
              </mc:Choice>
              <mc:Fallback>
                <p:oleObj name="CS ChemDraw Drawing" r:id="rId8" imgW="546488" imgH="761668" progId="ChemDraw.Document.6.0">
                  <p:embed/>
                  <p:pic>
                    <p:nvPicPr>
                      <p:cNvPr id="27" name="Object 26">
                        <a:extLst>
                          <a:ext uri="{FF2B5EF4-FFF2-40B4-BE49-F238E27FC236}">
                            <a16:creationId xmlns:a16="http://schemas.microsoft.com/office/drawing/2014/main" id="{889FD88A-8F1D-916B-BE77-BA16B0F5E3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068723" y="3237708"/>
                        <a:ext cx="883191" cy="12323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Box 27">
            <a:extLst>
              <a:ext uri="{FF2B5EF4-FFF2-40B4-BE49-F238E27FC236}">
                <a16:creationId xmlns:a16="http://schemas.microsoft.com/office/drawing/2014/main" id="{373752B4-5755-88E2-4EF3-EB0B78DCB6E3}"/>
              </a:ext>
            </a:extLst>
          </p:cNvPr>
          <p:cNvSpPr txBox="1"/>
          <p:nvPr/>
        </p:nvSpPr>
        <p:spPr>
          <a:xfrm>
            <a:off x="3517349" y="3775911"/>
            <a:ext cx="6655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c.f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F5278EB-9C09-C107-4DA1-43DAA6C111B9}"/>
              </a:ext>
            </a:extLst>
          </p:cNvPr>
          <p:cNvSpPr txBox="1"/>
          <p:nvPr/>
        </p:nvSpPr>
        <p:spPr>
          <a:xfrm>
            <a:off x="6027720" y="708752"/>
            <a:ext cx="28862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+mn-lt"/>
              </a:rPr>
              <a:t>Buried volume steric models correlate with Total LAO </a:t>
            </a:r>
            <a:r>
              <a:rPr lang="en-US" sz="1400" dirty="0" err="1">
                <a:solidFill>
                  <a:schemeClr val="tx2"/>
                </a:solidFill>
                <a:latin typeface="+mn-lt"/>
              </a:rPr>
              <a:t>wt</a:t>
            </a:r>
            <a:r>
              <a:rPr lang="en-US" sz="1400" dirty="0">
                <a:solidFill>
                  <a:schemeClr val="tx2"/>
                </a:solidFill>
                <a:latin typeface="+mn-lt"/>
              </a:rPr>
              <a:t>%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4F6F917C-116A-A23F-A60E-A3EAD41037DA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335025" y="871474"/>
            <a:ext cx="2271668" cy="2271668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476601FD-50B4-B2B8-2DBA-96224FD078AE}"/>
              </a:ext>
            </a:extLst>
          </p:cNvPr>
          <p:cNvGrpSpPr/>
          <p:nvPr/>
        </p:nvGrpSpPr>
        <p:grpSpPr>
          <a:xfrm>
            <a:off x="6583031" y="2897269"/>
            <a:ext cx="1775656" cy="1642530"/>
            <a:chOff x="5913393" y="3139717"/>
            <a:chExt cx="1150379" cy="1064132"/>
          </a:xfrm>
        </p:grpSpPr>
        <p:graphicFrame>
          <p:nvGraphicFramePr>
            <p:cNvPr id="32" name="Object 31">
              <a:extLst>
                <a:ext uri="{FF2B5EF4-FFF2-40B4-BE49-F238E27FC236}">
                  <a16:creationId xmlns:a16="http://schemas.microsoft.com/office/drawing/2014/main" id="{6F7DB8EE-E0B0-83AD-5960-651ACC56C3D7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6032566" y="3377191"/>
            <a:ext cx="957263" cy="7239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1" imgW="956699" imgH="723207" progId="ChemDraw.Document.6.0">
                    <p:embed/>
                  </p:oleObj>
                </mc:Choice>
                <mc:Fallback>
                  <p:oleObj name="CS ChemDraw Drawing" r:id="rId11" imgW="956699" imgH="723207" progId="ChemDraw.Document.6.0">
                    <p:embed/>
                    <p:pic>
                      <p:nvPicPr>
                        <p:cNvPr id="32" name="Object 31">
                          <a:extLst>
                            <a:ext uri="{FF2B5EF4-FFF2-40B4-BE49-F238E27FC236}">
                              <a16:creationId xmlns:a16="http://schemas.microsoft.com/office/drawing/2014/main" id="{6F7DB8EE-E0B0-83AD-5960-651ACC56C3D7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2"/>
                        <a:stretch>
                          <a:fillRect/>
                        </a:stretch>
                      </p:blipFill>
                      <p:spPr>
                        <a:xfrm>
                          <a:off x="6032566" y="3377191"/>
                          <a:ext cx="957263" cy="7239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0A2EAEBB-9C85-4EAC-6155-8ADA3BB04B50}"/>
                </a:ext>
              </a:extLst>
            </p:cNvPr>
            <p:cNvSpPr/>
            <p:nvPr/>
          </p:nvSpPr>
          <p:spPr>
            <a:xfrm>
              <a:off x="6218091" y="3139717"/>
              <a:ext cx="605772" cy="605772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C81302D-8DA9-D804-9B49-F36BC9665631}"/>
                </a:ext>
              </a:extLst>
            </p:cNvPr>
            <p:cNvSpPr/>
            <p:nvPr/>
          </p:nvSpPr>
          <p:spPr>
            <a:xfrm>
              <a:off x="5913393" y="3435125"/>
              <a:ext cx="524157" cy="524157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9D07AD65-DF9E-0FF0-F8E1-8F9288AE0192}"/>
                </a:ext>
              </a:extLst>
            </p:cNvPr>
            <p:cNvSpPr/>
            <p:nvPr/>
          </p:nvSpPr>
          <p:spPr>
            <a:xfrm>
              <a:off x="6539615" y="3435124"/>
              <a:ext cx="524157" cy="524157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E94E788A-5843-20EE-8160-33EDB3BF4867}"/>
                </a:ext>
              </a:extLst>
            </p:cNvPr>
            <p:cNvSpPr/>
            <p:nvPr/>
          </p:nvSpPr>
          <p:spPr>
            <a:xfrm>
              <a:off x="6373227" y="3667087"/>
              <a:ext cx="268381" cy="268381"/>
            </a:xfrm>
            <a:prstGeom prst="ellipse">
              <a:avLst/>
            </a:prstGeom>
            <a:solidFill>
              <a:srgbClr val="0066FF">
                <a:alpha val="24706"/>
              </a:srgbClr>
            </a:solidFill>
            <a:ln>
              <a:solidFill>
                <a:schemeClr val="tx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2B8A8969-7DE5-A193-6089-73541A95045D}"/>
                </a:ext>
              </a:extLst>
            </p:cNvPr>
            <p:cNvSpPr/>
            <p:nvPr/>
          </p:nvSpPr>
          <p:spPr>
            <a:xfrm>
              <a:off x="6373227" y="3843260"/>
              <a:ext cx="268381" cy="268381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5FEEBC10-543E-44D2-3006-50B7CD40F454}"/>
                </a:ext>
              </a:extLst>
            </p:cNvPr>
            <p:cNvSpPr/>
            <p:nvPr/>
          </p:nvSpPr>
          <p:spPr>
            <a:xfrm>
              <a:off x="6528363" y="3935468"/>
              <a:ext cx="268381" cy="268381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72AB223-D970-0597-9488-656DAC468F07}"/>
                </a:ext>
              </a:extLst>
            </p:cNvPr>
            <p:cNvSpPr/>
            <p:nvPr/>
          </p:nvSpPr>
          <p:spPr>
            <a:xfrm>
              <a:off x="6218091" y="3935468"/>
              <a:ext cx="268381" cy="268381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</p:grpSp>
    </p:spTree>
    <p:extLst>
      <p:ext uri="{BB962C8B-B14F-4D97-AF65-F5344CB8AC3E}">
        <p14:creationId xmlns:p14="http://schemas.microsoft.com/office/powerpoint/2010/main" val="9383367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D5E608F-2A66-4E2D-9C5C-32A612B104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8792" y="675466"/>
            <a:ext cx="3684780" cy="618166"/>
          </a:xfrm>
        </p:spPr>
        <p:txBody>
          <a:bodyPr/>
          <a:lstStyle/>
          <a:p>
            <a:pPr marL="0" indent="0">
              <a:buNone/>
            </a:pPr>
            <a:r>
              <a:rPr lang="en-US" u="sng" dirty="0">
                <a:latin typeface="Arial" panose="020B0604020202020204" pitchFamily="34" charset="0"/>
                <a:cs typeface="Arial" panose="020B0604020202020204" pitchFamily="34" charset="0"/>
              </a:rPr>
              <a:t>Aramco Americas </a:t>
            </a:r>
          </a:p>
          <a:p>
            <a:pPr marL="0" indent="0">
              <a:buNone/>
            </a:pPr>
            <a:r>
              <a:rPr lang="en-US" u="sng" dirty="0">
                <a:latin typeface="Arial" panose="020B0604020202020204" pitchFamily="34" charset="0"/>
                <a:cs typeface="Arial" panose="020B0604020202020204" pitchFamily="34" charset="0"/>
              </a:rPr>
              <a:t>Advanced Materials Team (Cambridge, MA)</a:t>
            </a:r>
          </a:p>
          <a:p>
            <a:pPr marL="0" indent="0">
              <a:buNone/>
            </a:pPr>
            <a:endParaRPr lang="en-US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251BA4-4931-4182-9927-2908D01C66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cknowledgemen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B5227EB-7978-43B2-AFAE-19EAF202A92F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80B0E47-5167-4606-9905-4F9FF074DC99}"/>
              </a:ext>
            </a:extLst>
          </p:cNvPr>
          <p:cNvSpPr/>
          <p:nvPr/>
        </p:nvSpPr>
        <p:spPr>
          <a:xfrm>
            <a:off x="4593600" y="656666"/>
            <a:ext cx="368478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l">
              <a:buNone/>
            </a:pPr>
            <a:r>
              <a:rPr lang="en-US" sz="1400" u="sng" dirty="0"/>
              <a:t>Saudi Aramco Chemicals R&amp;D at KAUST </a:t>
            </a:r>
          </a:p>
          <a:p>
            <a:pPr algn="l"/>
            <a:r>
              <a:rPr lang="en-US" sz="1400" dirty="0"/>
              <a:t>Mohamed Elanany</a:t>
            </a:r>
          </a:p>
          <a:p>
            <a:pPr algn="l"/>
            <a:r>
              <a:rPr lang="en-US" sz="1400" dirty="0"/>
              <a:t>Motaz Khawaji</a:t>
            </a:r>
          </a:p>
          <a:p>
            <a:pPr algn="l"/>
            <a:r>
              <a:rPr lang="en-US" sz="1400" dirty="0"/>
              <a:t>Wei Xu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A4C26FA-7274-450F-A98F-82561C8AD16A}"/>
              </a:ext>
            </a:extLst>
          </p:cNvPr>
          <p:cNvSpPr/>
          <p:nvPr/>
        </p:nvSpPr>
        <p:spPr>
          <a:xfrm>
            <a:off x="550852" y="1293632"/>
            <a:ext cx="355421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Jenna C. Fromer</a:t>
            </a:r>
            <a:endParaRPr lang="en-US" sz="1400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Yagnaseni Ghosh</a:t>
            </a:r>
          </a:p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Brian Hanna</a:t>
            </a:r>
          </a:p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ouglas Theberge</a:t>
            </a:r>
          </a:p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ana A. Wong</a:t>
            </a:r>
          </a:p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tieh Abu Raqabah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E89131-2E48-4A81-B6AD-12DD7BD493E4}"/>
              </a:ext>
            </a:extLst>
          </p:cNvPr>
          <p:cNvSpPr/>
          <p:nvPr/>
        </p:nvSpPr>
        <p:spPr>
          <a:xfrm>
            <a:off x="4593600" y="1818626"/>
            <a:ext cx="401293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l">
              <a:buNone/>
            </a:pPr>
            <a:r>
              <a:rPr lang="en-US" sz="1400" u="sng" dirty="0"/>
              <a:t>King Fahd Univ. of Petroleum and Minerals</a:t>
            </a:r>
          </a:p>
          <a:p>
            <a:pPr algn="l"/>
            <a:r>
              <a:rPr lang="en-US" sz="1400" dirty="0"/>
              <a:t>E. A. Jaseer</a:t>
            </a:r>
          </a:p>
          <a:p>
            <a:pPr algn="l"/>
            <a:r>
              <a:rPr lang="en-US" sz="1400" dirty="0"/>
              <a:t>Samir Barman</a:t>
            </a:r>
          </a:p>
          <a:p>
            <a:pPr algn="l"/>
            <a:r>
              <a:rPr lang="en-US" sz="1400" dirty="0"/>
              <a:t>Nestor Garcia</a:t>
            </a:r>
          </a:p>
          <a:p>
            <a:pPr algn="l"/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113909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1E961D0-EEDA-706B-B3F4-FABD575414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5A5164-9AB1-9283-FBC5-5A08F0BD0F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0138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6D3F4D-F593-4E81-8462-5B184EFEAF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utational: Calculating PNP stability against PPN isomerization</a:t>
            </a:r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A2EC9783-A735-492C-9F1B-D7CC08A2A29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260400" y="2145056"/>
          <a:ext cx="3240881" cy="15323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" imgW="1956608" imgH="926176" progId="ChemDraw.Document.6.0">
                  <p:embed/>
                </p:oleObj>
              </mc:Choice>
              <mc:Fallback>
                <p:oleObj name="CS ChemDraw Drawing" r:id="rId3" imgW="1956608" imgH="926176" progId="ChemDraw.Document.6.0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A2EC9783-A735-492C-9F1B-D7CC08A2A2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60400" y="2145056"/>
                        <a:ext cx="3240881" cy="15323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val 8">
            <a:extLst>
              <a:ext uri="{FF2B5EF4-FFF2-40B4-BE49-F238E27FC236}">
                <a16:creationId xmlns:a16="http://schemas.microsoft.com/office/drawing/2014/main" id="{97A3A47F-23D4-497D-A2B0-EF6FA6B14E2B}"/>
              </a:ext>
            </a:extLst>
          </p:cNvPr>
          <p:cNvSpPr/>
          <p:nvPr/>
        </p:nvSpPr>
        <p:spPr>
          <a:xfrm>
            <a:off x="2228702" y="3020848"/>
            <a:ext cx="46435" cy="46435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9612100-D1C4-4A72-A1B7-D7F8B0FE742A}"/>
              </a:ext>
            </a:extLst>
          </p:cNvPr>
          <p:cNvCxnSpPr>
            <a:cxnSpLocks/>
          </p:cNvCxnSpPr>
          <p:nvPr/>
        </p:nvCxnSpPr>
        <p:spPr>
          <a:xfrm>
            <a:off x="2276598" y="3083268"/>
            <a:ext cx="385167" cy="0"/>
          </a:xfrm>
          <a:prstGeom prst="line">
            <a:avLst/>
          </a:prstGeom>
          <a:noFill/>
          <a:ln w="12700" cap="flat" cmpd="sng" algn="ctr">
            <a:solidFill>
              <a:srgbClr val="8F9194"/>
            </a:solidFill>
            <a:prstDash val="sysDot"/>
          </a:ln>
          <a:effectLst/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CEDA1C8-0C92-4CDA-8E56-0599CBE0304E}"/>
              </a:ext>
            </a:extLst>
          </p:cNvPr>
          <p:cNvCxnSpPr>
            <a:cxnSpLocks/>
          </p:cNvCxnSpPr>
          <p:nvPr/>
        </p:nvCxnSpPr>
        <p:spPr>
          <a:xfrm>
            <a:off x="2914177" y="3242812"/>
            <a:ext cx="1100138" cy="0"/>
          </a:xfrm>
          <a:prstGeom prst="line">
            <a:avLst/>
          </a:prstGeom>
          <a:noFill/>
          <a:ln w="12700" cap="flat" cmpd="sng" algn="ctr">
            <a:solidFill>
              <a:srgbClr val="8F9194"/>
            </a:solidFill>
            <a:prstDash val="sysDot"/>
          </a:ln>
          <a:effectLst/>
        </p:spPr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0B07A41D-D0E5-4DCF-8FD2-95E508605BDF}"/>
              </a:ext>
            </a:extLst>
          </p:cNvPr>
          <p:cNvSpPr/>
          <p:nvPr/>
        </p:nvSpPr>
        <p:spPr>
          <a:xfrm>
            <a:off x="2003350" y="3496415"/>
            <a:ext cx="46435" cy="46435"/>
          </a:xfrm>
          <a:prstGeom prst="ellipse">
            <a:avLst/>
          </a:prstGeom>
          <a:solidFill>
            <a:srgbClr val="00843D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A9B5710-CCF5-4613-A51D-E4E2C87A6AA1}"/>
              </a:ext>
            </a:extLst>
          </p:cNvPr>
          <p:cNvCxnSpPr>
            <a:cxnSpLocks/>
          </p:cNvCxnSpPr>
          <p:nvPr/>
        </p:nvCxnSpPr>
        <p:spPr>
          <a:xfrm>
            <a:off x="2060797" y="3588093"/>
            <a:ext cx="600968" cy="0"/>
          </a:xfrm>
          <a:prstGeom prst="line">
            <a:avLst/>
          </a:prstGeom>
          <a:noFill/>
          <a:ln w="12700" cap="flat" cmpd="sng" algn="ctr">
            <a:solidFill>
              <a:srgbClr val="8F9194"/>
            </a:solidFill>
            <a:prstDash val="sysDot"/>
          </a:ln>
          <a:effectLst/>
        </p:spPr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4917066-FE96-4059-B167-DF9DAB53C907}"/>
              </a:ext>
            </a:extLst>
          </p:cNvPr>
          <p:cNvCxnSpPr>
            <a:cxnSpLocks/>
          </p:cNvCxnSpPr>
          <p:nvPr/>
        </p:nvCxnSpPr>
        <p:spPr>
          <a:xfrm flipV="1">
            <a:off x="2783207" y="3266031"/>
            <a:ext cx="5" cy="297775"/>
          </a:xfrm>
          <a:prstGeom prst="straightConnector1">
            <a:avLst/>
          </a:prstGeom>
          <a:noFill/>
          <a:ln w="12700" cap="flat" cmpd="sng" algn="ctr">
            <a:solidFill>
              <a:srgbClr val="00843D"/>
            </a:solidFill>
            <a:prstDash val="solid"/>
            <a:tailEnd type="triangle"/>
          </a:ln>
          <a:effectLst/>
        </p:spPr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0DD3CA5-F326-4306-9ADA-ADC6DAFAB4BA}"/>
              </a:ext>
            </a:extLst>
          </p:cNvPr>
          <p:cNvCxnSpPr/>
          <p:nvPr/>
        </p:nvCxnSpPr>
        <p:spPr>
          <a:xfrm>
            <a:off x="2783207" y="3099937"/>
            <a:ext cx="0" cy="119063"/>
          </a:xfrm>
          <a:prstGeom prst="straightConnector1">
            <a:avLst/>
          </a:prstGeom>
          <a:noFill/>
          <a:ln w="12700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05A8F112-F70F-46BA-AB9D-E52CD07A07E3}"/>
              </a:ext>
            </a:extLst>
          </p:cNvPr>
          <p:cNvSpPr/>
          <p:nvPr/>
        </p:nvSpPr>
        <p:spPr>
          <a:xfrm>
            <a:off x="2661765" y="3063442"/>
            <a:ext cx="248570" cy="34289"/>
          </a:xfrm>
          <a:prstGeom prst="rect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6566906-1E30-4F09-BCFF-653596BEE607}"/>
              </a:ext>
            </a:extLst>
          </p:cNvPr>
          <p:cNvSpPr/>
          <p:nvPr/>
        </p:nvSpPr>
        <p:spPr>
          <a:xfrm>
            <a:off x="2665336" y="3225667"/>
            <a:ext cx="248570" cy="34289"/>
          </a:xfrm>
          <a:prstGeom prst="rect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AE33ABF-E352-4633-A4AF-E1D247CF54E0}"/>
              </a:ext>
            </a:extLst>
          </p:cNvPr>
          <p:cNvSpPr/>
          <p:nvPr/>
        </p:nvSpPr>
        <p:spPr>
          <a:xfrm>
            <a:off x="2661765" y="3569163"/>
            <a:ext cx="248570" cy="34289"/>
          </a:xfrm>
          <a:prstGeom prst="rect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graphicFrame>
        <p:nvGraphicFramePr>
          <p:cNvPr id="19" name="Object 18">
            <a:extLst>
              <a:ext uri="{FF2B5EF4-FFF2-40B4-BE49-F238E27FC236}">
                <a16:creationId xmlns:a16="http://schemas.microsoft.com/office/drawing/2014/main" id="{2790F0D5-890B-46DA-AC46-D341A14735C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003350" y="2784062"/>
          <a:ext cx="248570" cy="39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5" imgW="153439" imgH="243494" progId="ChemDraw.Document.6.0">
                  <p:embed/>
                </p:oleObj>
              </mc:Choice>
              <mc:Fallback>
                <p:oleObj name="CS ChemDraw Drawing" r:id="rId5" imgW="153439" imgH="243494" progId="ChemDraw.Document.6.0">
                  <p:embed/>
                  <p:pic>
                    <p:nvPicPr>
                      <p:cNvPr id="19" name="Object 18">
                        <a:extLst>
                          <a:ext uri="{FF2B5EF4-FFF2-40B4-BE49-F238E27FC236}">
                            <a16:creationId xmlns:a16="http://schemas.microsoft.com/office/drawing/2014/main" id="{2790F0D5-890B-46DA-AC46-D341A14735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03350" y="2784062"/>
                        <a:ext cx="248570" cy="39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C0374392-6407-4346-871E-C8575F660052}"/>
              </a:ext>
            </a:extLst>
          </p:cNvPr>
          <p:cNvSpPr txBox="1"/>
          <p:nvPr/>
        </p:nvSpPr>
        <p:spPr>
          <a:xfrm>
            <a:off x="2864866" y="3058770"/>
            <a:ext cx="611065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FF0000"/>
                </a:solidFill>
              </a:rPr>
              <a:t>wrong </a:t>
            </a:r>
            <a:r>
              <a:rPr lang="el-GR" sz="750" dirty="0">
                <a:solidFill>
                  <a:srgbClr val="FF0000"/>
                </a:solidFill>
              </a:rPr>
              <a:t>Δ</a:t>
            </a:r>
            <a:r>
              <a:rPr lang="en-US" sz="750" dirty="0">
                <a:solidFill>
                  <a:srgbClr val="FF0000"/>
                </a:solidFill>
              </a:rPr>
              <a:t>G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4EE70C4-D395-4B35-A809-5C58CA3BFF04}"/>
              </a:ext>
            </a:extLst>
          </p:cNvPr>
          <p:cNvSpPr txBox="1"/>
          <p:nvPr/>
        </p:nvSpPr>
        <p:spPr>
          <a:xfrm>
            <a:off x="2901735" y="3333537"/>
            <a:ext cx="537328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843D"/>
                </a:solidFill>
              </a:rPr>
              <a:t>right </a:t>
            </a:r>
            <a:r>
              <a:rPr lang="el-GR" sz="750" dirty="0">
                <a:solidFill>
                  <a:srgbClr val="00843D"/>
                </a:solidFill>
              </a:rPr>
              <a:t>Δ</a:t>
            </a:r>
            <a:r>
              <a:rPr lang="en-US" sz="750" dirty="0">
                <a:solidFill>
                  <a:srgbClr val="00843D"/>
                </a:solidFill>
              </a:rPr>
              <a:t>G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199C852-2E8C-4238-B338-4ED120F4E10E}"/>
              </a:ext>
            </a:extLst>
          </p:cNvPr>
          <p:cNvSpPr/>
          <p:nvPr/>
        </p:nvSpPr>
        <p:spPr>
          <a:xfrm>
            <a:off x="4010744" y="3176136"/>
            <a:ext cx="46435" cy="46435"/>
          </a:xfrm>
          <a:prstGeom prst="ellipse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graphicFrame>
        <p:nvGraphicFramePr>
          <p:cNvPr id="23" name="Object 22">
            <a:extLst>
              <a:ext uri="{FF2B5EF4-FFF2-40B4-BE49-F238E27FC236}">
                <a16:creationId xmlns:a16="http://schemas.microsoft.com/office/drawing/2014/main" id="{C9865421-A673-46D2-A53D-EEE237C0D6A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903534" y="1011509"/>
          <a:ext cx="1252540" cy="15607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7" imgW="714548" imgH="886345" progId="ChemDraw.Document.6.0">
                  <p:embed/>
                </p:oleObj>
              </mc:Choice>
              <mc:Fallback>
                <p:oleObj name="CS ChemDraw Drawing" r:id="rId7" imgW="714548" imgH="886345" progId="ChemDraw.Document.6.0">
                  <p:embed/>
                  <p:pic>
                    <p:nvPicPr>
                      <p:cNvPr id="23" name="Object 22">
                        <a:extLst>
                          <a:ext uri="{FF2B5EF4-FFF2-40B4-BE49-F238E27FC236}">
                            <a16:creationId xmlns:a16="http://schemas.microsoft.com/office/drawing/2014/main" id="{C9865421-A673-46D2-A53D-EEE237C0D6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903534" y="1011509"/>
                        <a:ext cx="1252540" cy="15607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A72BE5A2-5DCF-4D9B-BFBE-DF2AEADF7B42}"/>
              </a:ext>
            </a:extLst>
          </p:cNvPr>
          <p:cNvSpPr txBox="1"/>
          <p:nvPr/>
        </p:nvSpPr>
        <p:spPr>
          <a:xfrm>
            <a:off x="7380749" y="1175152"/>
            <a:ext cx="2600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84BD00"/>
                </a:solidFill>
              </a:rPr>
              <a:t>2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E64D78C-FA39-4CC6-BBD1-3CB377B8D379}"/>
              </a:ext>
            </a:extLst>
          </p:cNvPr>
          <p:cNvSpPr txBox="1"/>
          <p:nvPr/>
        </p:nvSpPr>
        <p:spPr>
          <a:xfrm>
            <a:off x="7211679" y="1394198"/>
            <a:ext cx="2600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84BD00"/>
                </a:solidFill>
              </a:rPr>
              <a:t>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EDE1B58-923D-41C7-AC8E-8A2CCD072790}"/>
              </a:ext>
            </a:extLst>
          </p:cNvPr>
          <p:cNvSpPr txBox="1"/>
          <p:nvPr/>
        </p:nvSpPr>
        <p:spPr>
          <a:xfrm>
            <a:off x="7594340" y="1594252"/>
            <a:ext cx="2600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84BD00"/>
                </a:solidFill>
              </a:rPr>
              <a:t>2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C2EF30D-D090-4BEA-9617-388837C5EEEC}"/>
              </a:ext>
            </a:extLst>
          </p:cNvPr>
          <p:cNvSpPr txBox="1"/>
          <p:nvPr/>
        </p:nvSpPr>
        <p:spPr>
          <a:xfrm>
            <a:off x="7523624" y="1873709"/>
            <a:ext cx="2600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84BD00"/>
                </a:solidFill>
              </a:rPr>
              <a:t>2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33EAF86-AF3B-4894-93CC-258077045227}"/>
              </a:ext>
            </a:extLst>
          </p:cNvPr>
          <p:cNvSpPr txBox="1"/>
          <p:nvPr/>
        </p:nvSpPr>
        <p:spPr>
          <a:xfrm>
            <a:off x="7349790" y="1532102"/>
            <a:ext cx="2600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00A3E0"/>
                </a:solidFill>
              </a:rPr>
              <a:t>3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680B7DD-90A2-4CD5-A20B-DA9BFFDC835A}"/>
              </a:ext>
            </a:extLst>
          </p:cNvPr>
          <p:cNvSpPr txBox="1"/>
          <p:nvPr/>
        </p:nvSpPr>
        <p:spPr>
          <a:xfrm>
            <a:off x="7218823" y="1752474"/>
            <a:ext cx="2600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00A3E0"/>
                </a:solidFill>
              </a:rPr>
              <a:t>3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7DF9D07-F076-4CD7-BEF3-DA243DF33018}"/>
              </a:ext>
            </a:extLst>
          </p:cNvPr>
          <p:cNvSpPr txBox="1"/>
          <p:nvPr/>
        </p:nvSpPr>
        <p:spPr>
          <a:xfrm>
            <a:off x="7044990" y="2145056"/>
            <a:ext cx="2600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00A3E0"/>
                </a:solidFill>
              </a:rPr>
              <a:t>3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4652526-F200-4705-B545-D094572527D8}"/>
              </a:ext>
            </a:extLst>
          </p:cNvPr>
          <p:cNvSpPr txBox="1"/>
          <p:nvPr/>
        </p:nvSpPr>
        <p:spPr>
          <a:xfrm>
            <a:off x="6574804" y="2560481"/>
            <a:ext cx="158729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53565A"/>
                </a:solidFill>
              </a:rPr>
              <a:t>how many conformers?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137ED58-C58F-42B6-B6AA-303E56CAAEA7}"/>
              </a:ext>
            </a:extLst>
          </p:cNvPr>
          <p:cNvSpPr/>
          <p:nvPr/>
        </p:nvSpPr>
        <p:spPr>
          <a:xfrm>
            <a:off x="6053472" y="2762993"/>
            <a:ext cx="26299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i="1" dirty="0">
                <a:solidFill>
                  <a:srgbClr val="53565A"/>
                </a:solidFill>
              </a:rPr>
              <a:t> ca. </a:t>
            </a:r>
            <a:r>
              <a:rPr lang="en-US" sz="1050" dirty="0">
                <a:solidFill>
                  <a:srgbClr val="00A3E0"/>
                </a:solidFill>
              </a:rPr>
              <a:t>3</a:t>
            </a:r>
            <a:r>
              <a:rPr lang="en-US" sz="1050" baseline="30000" dirty="0">
                <a:solidFill>
                  <a:srgbClr val="53565A"/>
                </a:solidFill>
              </a:rPr>
              <a:t>3</a:t>
            </a:r>
            <a:r>
              <a:rPr lang="en-US" sz="1050" dirty="0">
                <a:solidFill>
                  <a:srgbClr val="53565A"/>
                </a:solidFill>
              </a:rPr>
              <a:t> x </a:t>
            </a:r>
            <a:r>
              <a:rPr lang="en-US" sz="1050" dirty="0">
                <a:solidFill>
                  <a:srgbClr val="84BD00"/>
                </a:solidFill>
              </a:rPr>
              <a:t>2</a:t>
            </a:r>
            <a:r>
              <a:rPr lang="en-US" sz="1050" baseline="30000" dirty="0">
                <a:solidFill>
                  <a:srgbClr val="53565A"/>
                </a:solidFill>
              </a:rPr>
              <a:t>4</a:t>
            </a:r>
            <a:r>
              <a:rPr lang="en-US" sz="1050" dirty="0">
                <a:solidFill>
                  <a:srgbClr val="53565A"/>
                </a:solidFill>
              </a:rPr>
              <a:t> = </a:t>
            </a:r>
            <a:r>
              <a:rPr lang="en-US" sz="1050" b="1" dirty="0">
                <a:solidFill>
                  <a:srgbClr val="53565A"/>
                </a:solidFill>
              </a:rPr>
              <a:t>432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0" b="1" dirty="0">
              <a:solidFill>
                <a:srgbClr val="53565A"/>
              </a:solidFill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53565A"/>
                </a:solidFill>
              </a:rPr>
              <a:t>too many to rely on human intuition or employ brute-force high-level simulations</a:t>
            </a:r>
          </a:p>
        </p:txBody>
      </p:sp>
      <p:graphicFrame>
        <p:nvGraphicFramePr>
          <p:cNvPr id="33" name="Object 32">
            <a:extLst>
              <a:ext uri="{FF2B5EF4-FFF2-40B4-BE49-F238E27FC236}">
                <a16:creationId xmlns:a16="http://schemas.microsoft.com/office/drawing/2014/main" id="{41B7B1F7-949D-45D7-9C78-C312EC5DD6B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948558" y="1171960"/>
          <a:ext cx="893503" cy="6513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9" imgW="737408" imgH="538942" progId="ChemDraw.Document.6.0">
                  <p:embed/>
                </p:oleObj>
              </mc:Choice>
              <mc:Fallback>
                <p:oleObj name="CS ChemDraw Drawing" r:id="rId9" imgW="737408" imgH="538942" progId="ChemDraw.Document.6.0">
                  <p:embed/>
                  <p:pic>
                    <p:nvPicPr>
                      <p:cNvPr id="33" name="Object 32">
                        <a:extLst>
                          <a:ext uri="{FF2B5EF4-FFF2-40B4-BE49-F238E27FC236}">
                            <a16:creationId xmlns:a16="http://schemas.microsoft.com/office/drawing/2014/main" id="{41B7B1F7-949D-45D7-9C78-C312EC5DD6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948558" y="1171960"/>
                        <a:ext cx="893503" cy="6513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4" name="Object 33">
            <a:extLst>
              <a:ext uri="{FF2B5EF4-FFF2-40B4-BE49-F238E27FC236}">
                <a16:creationId xmlns:a16="http://schemas.microsoft.com/office/drawing/2014/main" id="{7D8C7C30-7078-4B45-A28E-56BA4AF8717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701033" y="802989"/>
          <a:ext cx="2060972" cy="5976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1" imgW="1811828" imgH="524048" progId="ChemDraw.Document.6.0">
                  <p:embed/>
                </p:oleObj>
              </mc:Choice>
              <mc:Fallback>
                <p:oleObj name="CS ChemDraw Drawing" r:id="rId11" imgW="1811828" imgH="524048" progId="ChemDraw.Document.6.0">
                  <p:embed/>
                  <p:pic>
                    <p:nvPicPr>
                      <p:cNvPr id="34" name="Object 33">
                        <a:extLst>
                          <a:ext uri="{FF2B5EF4-FFF2-40B4-BE49-F238E27FC236}">
                            <a16:creationId xmlns:a16="http://schemas.microsoft.com/office/drawing/2014/main" id="{7D8C7C30-7078-4B45-A28E-56BA4AF871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701033" y="802989"/>
                        <a:ext cx="2060972" cy="5976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5" name="Object 34">
            <a:extLst>
              <a:ext uri="{FF2B5EF4-FFF2-40B4-BE49-F238E27FC236}">
                <a16:creationId xmlns:a16="http://schemas.microsoft.com/office/drawing/2014/main" id="{2BABB6C4-9CC5-45C8-928A-462CFDE83EA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642067" y="1170064"/>
          <a:ext cx="1027080" cy="5586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3" imgW="866948" imgH="470708" progId="ChemDraw.Document.6.0">
                  <p:embed/>
                </p:oleObj>
              </mc:Choice>
              <mc:Fallback>
                <p:oleObj name="CS ChemDraw Drawing" r:id="rId13" imgW="866948" imgH="470708" progId="ChemDraw.Document.6.0">
                  <p:embed/>
                  <p:pic>
                    <p:nvPicPr>
                      <p:cNvPr id="35" name="Object 34">
                        <a:extLst>
                          <a:ext uri="{FF2B5EF4-FFF2-40B4-BE49-F238E27FC236}">
                            <a16:creationId xmlns:a16="http://schemas.microsoft.com/office/drawing/2014/main" id="{2BABB6C4-9CC5-45C8-928A-462CFDE83E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4642067" y="1170064"/>
                        <a:ext cx="1027080" cy="5586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17708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5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10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3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3" presetID="10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5" dur="5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6" fill="hold">
                          <p:stCondLst>
                            <p:cond delay="indefinite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10" presetClass="entr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22" presetID="10" presetClass="entr" presetSubtype="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4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10" presetClass="entr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7" dur="5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42" presetClass="path" presetSubtype="0" accel="50000" fill="hold" grpId="0" nodeType="withEffect" p14:presetBounceEnd="25000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00352 -0.04283 L -0.00039 3.33333E-6 " pathEditMode="relative" rAng="0" ptsTypes="AA" p14:bounceEnd="25000">
                                          <p:cBhvr>
                                            <p:cTn id="29" dur="2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95" y="213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30" presetID="42" presetClass="path" presetSubtype="0" accel="50000" fill="hold" grpId="0" nodeType="withEffect" p14:presetBounceEnd="25000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0.00326 -0.08449 L -0.00039 -7.40741E-7 " pathEditMode="relative" rAng="0" ptsTypes="AA" p14:bounceEnd="25000">
                                          <p:cBhvr>
                                            <p:cTn id="31" dur="2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43" y="4213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2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33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5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2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38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40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6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47" presetID="22" presetClass="entr" presetSubtype="1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49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0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51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3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54" fill="hold">
                          <p:stCondLst>
                            <p:cond delay="indefinite"/>
                          </p:stCondLst>
                          <p:childTnLst>
                            <p:par>
                              <p:cTn id="5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6" presetID="10" presetClass="entr" presetSubtype="0" fill="hold" grpId="1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9" presetID="0" presetClass="path" presetSubtype="0" accel="50000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03191 -0.13218 L 0.03191 -0.13171 C 0.0306 -0.1382 0.03112 -0.13542 0.03021 -0.14074 L 0.02982 -0.14259 C 0.02969 -0.14329 0.02969 -0.14421 0.02956 -0.14445 C 0.02748 -0.15 0.02982 -0.14329 0.02852 -0.14815 C 0.02813 -0.14907 0.028 -0.14931 0.02774 -0.15 C 0.02761 -0.1507 0.02748 -0.15162 0.02748 -0.15185 C 0.02709 -0.15278 0.02696 -0.15301 0.0267 -0.1537 C 0.02657 -0.1544 0.02657 -0.15532 0.02644 -0.15556 C 0.02605 -0.15625 0.02566 -0.15648 0.0254 -0.15671 C 0.02513 -0.15741 0.02513 -0.15833 0.025 -0.15857 C 0.02357 -0.1632 0.02383 -0.16227 0.02149 -0.16482 L 0.02045 -0.16597 C 0.02019 -0.16667 0.0198 -0.16736 0.01941 -0.16736 C 0.01706 -0.16875 0.01993 -0.16736 0.01667 -0.16852 C 0.01615 -0.16875 0.01602 -0.16921 0.01563 -0.16921 C 0.01446 -0.16921 0.01316 -0.16921 0.01211 -0.16852 C 0.01003 -0.16782 0.01055 -0.16736 0.00899 -0.16551 C 0.00873 -0.16505 0.00834 -0.16505 0.00795 -0.16482 C 0.00769 -0.16412 0.00743 -0.16366 0.0073 -0.16296 C 0.00691 -0.16273 0.00638 -0.16227 0.00625 -0.16181 C 0.00586 -0.16134 0.00612 -0.16042 0.00586 -0.15995 C 0.00482 -0.15671 0.00456 -0.15741 0.00417 -0.1544 C 0.00404 -0.15347 0.00378 -0.15185 0.00378 -0.1507 C 0.00378 -0.13542 0.00417 -0.12037 0.00417 -0.10486 C 0.00417 -0.09792 0.00404 -0.09074 0.00378 -0.08333 C 0.00365 -0.07894 0.00352 -0.0787 0.00313 -0.07523 C 0.003 -0.07315 0.00261 -0.06759 0.00248 -0.06482 C 0.00222 -0.06412 0.00209 -0.06389 0.00209 -0.06296 L 0.00144 -0.0581 C 0.00118 -0.05671 0.00105 -0.05532 0.00105 -0.0537 C 0.00066 -0.05116 0.00066 -0.05185 0.0004 -0.04931 C 0.00013 -0.04884 -4.58333E-6 -0.04792 -4.58333E-6 -0.04699 C -0.00039 -0.04514 -0.00052 -0.04282 -0.00065 -0.04074 C -0.00091 -0.03958 -0.00104 -0.0382 -0.00104 -0.03704 C -0.00117 -0.03634 -0.00143 -0.03542 -0.00143 -0.03449 C -0.00169 -0.03171 -0.00195 -0.02894 -0.00208 -0.02593 C -0.00156 -0.00903 -0.00247 -0.02014 -0.00143 -0.01366 C -0.00143 -0.01296 -0.00143 -0.01204 -0.00104 -0.01111 C -0.00039 -0.00857 0.00105 -0.00718 0.00105 -0.0037 L 0.00105 -0.00301 L -0.00039 0.00069 " pathEditMode="relative" rAng="0" ptsTypes="AAAAAAAAAAAAAAAAAAAAAAAAAAAAAAAAAAAAAAAAAAA">
                                          <p:cBhvr>
                                            <p:cTn id="60" dur="2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706" y="4792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61" presetID="2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63" dur="10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4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65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67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8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69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1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2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73" presetID="2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75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6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77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9" dur="5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80" fill="hold">
                          <p:stCondLst>
                            <p:cond delay="indefinite"/>
                          </p:stCondLst>
                          <p:childTnLst>
                            <p:par>
                              <p:cTn id="8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82" presetID="10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4" dur="500"/>
                                            <p:tgtEl>
                                              <p:spTgt spid="3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5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7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88" fill="hold">
                          <p:stCondLst>
                            <p:cond delay="indefinite"/>
                          </p:stCondLst>
                          <p:childTnLst>
                            <p:par>
                              <p:cTn id="8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90" presetID="10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2" dur="50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3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4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6" dur="50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98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0" dur="5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1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102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4" dur="5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5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106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8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9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110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2" dur="50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13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114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6" dur="500"/>
                                            <p:tgtEl>
                                              <p:spTgt spid="3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1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118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0" dur="500"/>
                                            <p:tgtEl>
                                              <p:spTgt spid="3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1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122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4" dur="500"/>
                                            <p:tgtEl>
                                              <p:spTgt spid="32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 animBg="1"/>
          <p:bldP spid="9" grpId="1" animBg="1"/>
          <p:bldP spid="12" grpId="0" animBg="1"/>
          <p:bldP spid="12" grpId="1" animBg="1"/>
          <p:bldP spid="16" grpId="0" animBg="1"/>
          <p:bldP spid="17" grpId="0" animBg="1"/>
          <p:bldP spid="18" grpId="0" animBg="1"/>
          <p:bldP spid="20" grpId="0"/>
          <p:bldP spid="21" grpId="0"/>
          <p:bldP spid="22" grpId="0" animBg="1"/>
          <p:bldP spid="22" grpId="1" animBg="1"/>
          <p:bldP spid="24" grpId="0"/>
          <p:bldP spid="25" grpId="0"/>
          <p:bldP spid="26" grpId="0"/>
          <p:bldP spid="27" grpId="0"/>
          <p:bldP spid="28" grpId="0"/>
          <p:bldP spid="29" grpId="0"/>
          <p:bldP spid="30" grpId="0"/>
          <p:bldP spid="31" grpId="0"/>
          <p:bldP spid="32" grpId="0" uiExpand="1" build="p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5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10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3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3" presetID="10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5" dur="5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6" fill="hold">
                          <p:stCondLst>
                            <p:cond delay="indefinite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10" presetClass="entr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22" presetID="10" presetClass="entr" presetSubtype="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4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10" presetClass="entr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7" dur="5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42" presetClass="path" presetSubtype="0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00352 -0.04283 L -0.00039 3.33333E-6 " pathEditMode="relative" rAng="0" ptsTypes="AA">
                                          <p:cBhvr>
                                            <p:cTn id="29" dur="2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95" y="213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30" presetID="42" presetClass="path" presetSubtype="0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0.00326 -0.08449 L -0.00039 -7.40741E-7 " pathEditMode="relative" rAng="0" ptsTypes="AA">
                                          <p:cBhvr>
                                            <p:cTn id="31" dur="2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43" y="4213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2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33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5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2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38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40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6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47" presetID="22" presetClass="entr" presetSubtype="1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49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0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51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3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54" fill="hold">
                          <p:stCondLst>
                            <p:cond delay="indefinite"/>
                          </p:stCondLst>
                          <p:childTnLst>
                            <p:par>
                              <p:cTn id="5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6" presetID="10" presetClass="entr" presetSubtype="0" fill="hold" grpId="1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9" presetID="0" presetClass="path" presetSubtype="0" accel="50000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03191 -0.13218 L 0.03191 -0.13171 C 0.0306 -0.1382 0.03112 -0.13542 0.03021 -0.14074 L 0.02982 -0.14259 C 0.02969 -0.14329 0.02969 -0.14421 0.02956 -0.14445 C 0.02748 -0.15 0.02982 -0.14329 0.02852 -0.14815 C 0.02813 -0.14907 0.028 -0.14931 0.02774 -0.15 C 0.02761 -0.1507 0.02748 -0.15162 0.02748 -0.15185 C 0.02709 -0.15278 0.02696 -0.15301 0.0267 -0.1537 C 0.02657 -0.1544 0.02657 -0.15532 0.02644 -0.15556 C 0.02605 -0.15625 0.02566 -0.15648 0.0254 -0.15671 C 0.02513 -0.15741 0.02513 -0.15833 0.025 -0.15857 C 0.02357 -0.1632 0.02383 -0.16227 0.02149 -0.16482 L 0.02045 -0.16597 C 0.02019 -0.16667 0.0198 -0.16736 0.01941 -0.16736 C 0.01706 -0.16875 0.01993 -0.16736 0.01667 -0.16852 C 0.01615 -0.16875 0.01602 -0.16921 0.01563 -0.16921 C 0.01446 -0.16921 0.01316 -0.16921 0.01211 -0.16852 C 0.01003 -0.16782 0.01055 -0.16736 0.00899 -0.16551 C 0.00873 -0.16505 0.00834 -0.16505 0.00795 -0.16482 C 0.00769 -0.16412 0.00743 -0.16366 0.0073 -0.16296 C 0.00691 -0.16273 0.00638 -0.16227 0.00625 -0.16181 C 0.00586 -0.16134 0.00612 -0.16042 0.00586 -0.15995 C 0.00482 -0.15671 0.00456 -0.15741 0.00417 -0.1544 C 0.00404 -0.15347 0.00378 -0.15185 0.00378 -0.1507 C 0.00378 -0.13542 0.00417 -0.12037 0.00417 -0.10486 C 0.00417 -0.09792 0.00404 -0.09074 0.00378 -0.08333 C 0.00365 -0.07894 0.00352 -0.0787 0.00313 -0.07523 C 0.003 -0.07315 0.00261 -0.06759 0.00248 -0.06482 C 0.00222 -0.06412 0.00209 -0.06389 0.00209 -0.06296 L 0.00144 -0.0581 C 0.00118 -0.05671 0.00105 -0.05532 0.00105 -0.0537 C 0.00066 -0.05116 0.00066 -0.05185 0.0004 -0.04931 C 0.00013 -0.04884 -4.58333E-6 -0.04792 -4.58333E-6 -0.04699 C -0.00039 -0.04514 -0.00052 -0.04282 -0.00065 -0.04074 C -0.00091 -0.03958 -0.00104 -0.0382 -0.00104 -0.03704 C -0.00117 -0.03634 -0.00143 -0.03542 -0.00143 -0.03449 C -0.00169 -0.03171 -0.00195 -0.02894 -0.00208 -0.02593 C -0.00156 -0.00903 -0.00247 -0.02014 -0.00143 -0.01366 C -0.00143 -0.01296 -0.00143 -0.01204 -0.00104 -0.01111 C -0.00039 -0.00857 0.00105 -0.00718 0.00105 -0.0037 L 0.00105 -0.00301 L -0.00039 0.00069 " pathEditMode="relative" rAng="0" ptsTypes="AAAAAAAAAAAAAAAAAAAAAAAAAAAAAAAAAAAAAAAAAAA">
                                          <p:cBhvr>
                                            <p:cTn id="60" dur="2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706" y="4792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61" presetID="2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63" dur="10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4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65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67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8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69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1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2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73" presetID="2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75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6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77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9" dur="5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80" fill="hold">
                          <p:stCondLst>
                            <p:cond delay="indefinite"/>
                          </p:stCondLst>
                          <p:childTnLst>
                            <p:par>
                              <p:cTn id="8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82" presetID="10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4" dur="500"/>
                                            <p:tgtEl>
                                              <p:spTgt spid="3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5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7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88" fill="hold">
                          <p:stCondLst>
                            <p:cond delay="indefinite"/>
                          </p:stCondLst>
                          <p:childTnLst>
                            <p:par>
                              <p:cTn id="8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90" presetID="10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2" dur="50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3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4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6" dur="50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98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0" dur="5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1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102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4" dur="5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5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106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8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9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110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2" dur="50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13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114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6" dur="500"/>
                                            <p:tgtEl>
                                              <p:spTgt spid="3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1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118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0" dur="500"/>
                                            <p:tgtEl>
                                              <p:spTgt spid="3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1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122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4" dur="500"/>
                                            <p:tgtEl>
                                              <p:spTgt spid="32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 animBg="1"/>
          <p:bldP spid="9" grpId="1" animBg="1"/>
          <p:bldP spid="12" grpId="0" animBg="1"/>
          <p:bldP spid="12" grpId="1" animBg="1"/>
          <p:bldP spid="16" grpId="0" animBg="1"/>
          <p:bldP spid="17" grpId="0" animBg="1"/>
          <p:bldP spid="18" grpId="0" animBg="1"/>
          <p:bldP spid="20" grpId="0"/>
          <p:bldP spid="21" grpId="0"/>
          <p:bldP spid="22" grpId="0" animBg="1"/>
          <p:bldP spid="22" grpId="1" animBg="1"/>
          <p:bldP spid="24" grpId="0"/>
          <p:bldP spid="25" grpId="0"/>
          <p:bldP spid="26" grpId="0"/>
          <p:bldP spid="27" grpId="0"/>
          <p:bldP spid="28" grpId="0"/>
          <p:bldP spid="29" grpId="0"/>
          <p:bldP spid="30" grpId="0"/>
          <p:bldP spid="31" grpId="0"/>
          <p:bldP spid="32" grpId="0" uiExpand="1" build="p"/>
        </p:bldLst>
      </p:timing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9F32D644-4AC2-466D-ABE9-6B40720852C2}"/>
              </a:ext>
            </a:extLst>
          </p:cNvPr>
          <p:cNvSpPr txBox="1"/>
          <p:nvPr/>
        </p:nvSpPr>
        <p:spPr>
          <a:xfrm>
            <a:off x="434970" y="816726"/>
            <a:ext cx="369819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u="sng" dirty="0"/>
              <a:t>Effective Tolman-based Cone Angle: </a:t>
            </a:r>
            <a:r>
              <a:rPr lang="el-GR" sz="1200" u="sng" dirty="0"/>
              <a:t>θ</a:t>
            </a:r>
            <a:r>
              <a:rPr lang="en-US" sz="1200" u="sng" baseline="-25000" dirty="0"/>
              <a:t>N-Sub</a:t>
            </a:r>
          </a:p>
          <a:p>
            <a:pPr algn="l"/>
            <a:endParaRPr lang="en-US" sz="1200" u="sng" baseline="-25000" dirty="0"/>
          </a:p>
          <a:p>
            <a:pPr algn="l"/>
            <a:endParaRPr lang="en-US" sz="1200" u="sng" baseline="-25000" dirty="0"/>
          </a:p>
          <a:p>
            <a:pPr algn="l"/>
            <a:r>
              <a:rPr lang="en-US" sz="1200" dirty="0"/>
              <a:t>Sasol found correlation with LAO total (1-C</a:t>
            </a:r>
            <a:r>
              <a:rPr lang="en-US" sz="1200" baseline="-25000" dirty="0"/>
              <a:t>6</a:t>
            </a:r>
            <a:r>
              <a:rPr lang="en-US" sz="1200" dirty="0"/>
              <a:t> + 1-C</a:t>
            </a:r>
            <a:r>
              <a:rPr lang="en-US" sz="1200" baseline="-25000" dirty="0"/>
              <a:t>8</a:t>
            </a:r>
            <a:r>
              <a:rPr lang="en-US" sz="1200" dirty="0"/>
              <a:t>)</a:t>
            </a:r>
          </a:p>
          <a:p>
            <a:pPr algn="l"/>
            <a:r>
              <a:rPr lang="en-US" sz="1200" dirty="0"/>
              <a:t>Only useful for narrow range of PNP ligands</a:t>
            </a: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schemeClr val="accent5">
                  <a:lumMod val="75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444815" y="22148"/>
            <a:ext cx="8264215" cy="272895"/>
          </a:xfrm>
          <a:prstGeom prst="rect">
            <a:avLst/>
          </a:prstGeom>
        </p:spPr>
        <p:txBody>
          <a:bodyPr vert="horz" lIns="0" tIns="34272" rIns="0" bIns="34272" rtlCol="0" anchor="t">
            <a:noAutofit/>
          </a:bodyPr>
          <a:lstStyle>
            <a:lvl1pPr algn="l" defTabSz="45696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050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502DCA6-B81F-44F5-9F01-51C32F7F2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Buried Volume” to Evaluate Ligand </a:t>
            </a:r>
            <a:r>
              <a:rPr lang="en-US" dirty="0" err="1"/>
              <a:t>Sterics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26B37E-9274-48B5-A5FE-9BB4931A818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6653" y="2093862"/>
            <a:ext cx="2990833" cy="176367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5C796A9-EED6-4AFE-BE73-82D97CD0F32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319" y="2010071"/>
            <a:ext cx="1872678" cy="176367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17E2D1A8-233E-447E-9CB5-E21FE9D8A0C4}"/>
              </a:ext>
            </a:extLst>
          </p:cNvPr>
          <p:cNvSpPr/>
          <p:nvPr/>
        </p:nvSpPr>
        <p:spPr>
          <a:xfrm>
            <a:off x="958326" y="3964892"/>
            <a:ext cx="2892138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25" dirty="0"/>
              <a:t>Cloete and coworkers, </a:t>
            </a:r>
            <a:r>
              <a:rPr lang="en-US" sz="825" i="1" dirty="0" err="1"/>
              <a:t>Inorg</a:t>
            </a:r>
            <a:r>
              <a:rPr lang="en-US" sz="825" i="1" dirty="0"/>
              <a:t>. Chem. </a:t>
            </a:r>
            <a:r>
              <a:rPr lang="en-US" sz="825" b="1" dirty="0"/>
              <a:t>2013</a:t>
            </a:r>
            <a:r>
              <a:rPr lang="en-US" sz="825" dirty="0"/>
              <a:t>, </a:t>
            </a:r>
            <a:r>
              <a:rPr lang="en-US" sz="825" i="1" dirty="0"/>
              <a:t>52,</a:t>
            </a:r>
            <a:r>
              <a:rPr lang="en-US" sz="825" dirty="0"/>
              <a:t> 2268-227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924EEA-AF5D-4957-8EC5-4C4E4E0EC2DB}"/>
              </a:ext>
            </a:extLst>
          </p:cNvPr>
          <p:cNvSpPr txBox="1"/>
          <p:nvPr/>
        </p:nvSpPr>
        <p:spPr>
          <a:xfrm>
            <a:off x="5403016" y="816727"/>
            <a:ext cx="355578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 u="sng" dirty="0"/>
              <a:t>Buried Volume Around Nitrogen: %</a:t>
            </a:r>
            <a:r>
              <a:rPr lang="en-US" sz="1200" u="sng" dirty="0" err="1"/>
              <a:t>V</a:t>
            </a:r>
            <a:r>
              <a:rPr lang="en-US" sz="1200" u="sng" baseline="-25000" dirty="0" err="1"/>
              <a:t>Bur</a:t>
            </a:r>
            <a:r>
              <a:rPr lang="en-US" sz="1200" u="sng" dirty="0"/>
              <a:t>(N)</a:t>
            </a:r>
          </a:p>
          <a:p>
            <a:pPr algn="l"/>
            <a:endParaRPr lang="en-US" sz="1200" u="sng" baseline="-25000" dirty="0"/>
          </a:p>
          <a:p>
            <a:pPr algn="l"/>
            <a:r>
              <a:rPr lang="en-US" sz="1200" dirty="0"/>
              <a:t>Calculated with </a:t>
            </a:r>
            <a:r>
              <a:rPr lang="en-US" sz="1200" dirty="0" err="1"/>
              <a:t>SambVca</a:t>
            </a:r>
            <a:r>
              <a:rPr lang="en-US" sz="1200" dirty="0"/>
              <a:t> (Prof. Cavallo, KAUST)</a:t>
            </a:r>
          </a:p>
          <a:p>
            <a:pPr algn="l"/>
            <a:r>
              <a:rPr lang="en-US" sz="1200" dirty="0"/>
              <a:t>Calculable for </a:t>
            </a:r>
            <a:r>
              <a:rPr lang="en-US" sz="1200" b="1" dirty="0"/>
              <a:t>all</a:t>
            </a:r>
            <a:r>
              <a:rPr lang="en-US" sz="1200" dirty="0"/>
              <a:t> PNP ligands</a:t>
            </a:r>
          </a:p>
          <a:p>
            <a:pPr algn="l"/>
            <a:r>
              <a:rPr lang="en-US" sz="1200" dirty="0"/>
              <a:t>Correlates with some catalyst output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16BD868-2BA9-432B-AE94-808C6B28EE80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05580" y="1466260"/>
            <a:ext cx="2663969" cy="2663969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04308767-BED8-423C-8EEE-B12F7A412435}"/>
              </a:ext>
            </a:extLst>
          </p:cNvPr>
          <p:cNvSpPr txBox="1"/>
          <p:nvPr/>
        </p:nvSpPr>
        <p:spPr>
          <a:xfrm>
            <a:off x="6527810" y="4127671"/>
            <a:ext cx="1271502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</a:schemeClr>
                </a:solidFill>
              </a:rPr>
              <a:t>%</a:t>
            </a:r>
            <a:r>
              <a:rPr lang="en-US" sz="1200" dirty="0" err="1">
                <a:solidFill>
                  <a:schemeClr val="tx1">
                    <a:lumMod val="50000"/>
                  </a:schemeClr>
                </a:solidFill>
              </a:rPr>
              <a:t>V</a:t>
            </a:r>
            <a:r>
              <a:rPr lang="en-US" sz="1200" baseline="-25000" dirty="0" err="1">
                <a:solidFill>
                  <a:schemeClr val="tx1">
                    <a:lumMod val="50000"/>
                  </a:schemeClr>
                </a:solidFill>
              </a:rPr>
              <a:t>Bur</a:t>
            </a:r>
            <a:r>
              <a:rPr lang="en-US" sz="1200" dirty="0">
                <a:solidFill>
                  <a:schemeClr val="tx1">
                    <a:lumMod val="50000"/>
                  </a:schemeClr>
                </a:solidFill>
              </a:rPr>
              <a:t>(N) = 88.9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385C119-F46F-4954-820B-FEE6CD8D97C5}"/>
              </a:ext>
            </a:extLst>
          </p:cNvPr>
          <p:cNvGrpSpPr/>
          <p:nvPr/>
        </p:nvGrpSpPr>
        <p:grpSpPr>
          <a:xfrm>
            <a:off x="5487924" y="3643918"/>
            <a:ext cx="862784" cy="798099"/>
            <a:chOff x="5913393" y="3139717"/>
            <a:chExt cx="1150379" cy="1064132"/>
          </a:xfrm>
        </p:grpSpPr>
        <p:graphicFrame>
          <p:nvGraphicFramePr>
            <p:cNvPr id="21" name="Object 20">
              <a:extLst>
                <a:ext uri="{FF2B5EF4-FFF2-40B4-BE49-F238E27FC236}">
                  <a16:creationId xmlns:a16="http://schemas.microsoft.com/office/drawing/2014/main" id="{2C12B53C-72FD-4E98-B4D9-4BFC78A47D43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6032566" y="3377191"/>
            <a:ext cx="957263" cy="7239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0" imgW="956699" imgH="723207" progId="ChemDraw.Document.6.0">
                    <p:embed/>
                  </p:oleObj>
                </mc:Choice>
                <mc:Fallback>
                  <p:oleObj name="CS ChemDraw Drawing" r:id="rId10" imgW="956699" imgH="723207" progId="ChemDraw.Document.6.0">
                    <p:embed/>
                    <p:pic>
                      <p:nvPicPr>
                        <p:cNvPr id="21" name="Object 20">
                          <a:extLst>
                            <a:ext uri="{FF2B5EF4-FFF2-40B4-BE49-F238E27FC236}">
                              <a16:creationId xmlns:a16="http://schemas.microsoft.com/office/drawing/2014/main" id="{2C12B53C-72FD-4E98-B4D9-4BFC78A47D43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1"/>
                        <a:stretch>
                          <a:fillRect/>
                        </a:stretch>
                      </p:blipFill>
                      <p:spPr>
                        <a:xfrm>
                          <a:off x="6032566" y="3377191"/>
                          <a:ext cx="957263" cy="7239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CE1A77CC-132C-4699-B1D1-6EF6F6F08DC2}"/>
                </a:ext>
              </a:extLst>
            </p:cNvPr>
            <p:cNvSpPr/>
            <p:nvPr/>
          </p:nvSpPr>
          <p:spPr>
            <a:xfrm>
              <a:off x="6218091" y="3139717"/>
              <a:ext cx="605772" cy="605772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EF8D498C-83CB-400C-8979-3573FC51688B}"/>
                </a:ext>
              </a:extLst>
            </p:cNvPr>
            <p:cNvSpPr/>
            <p:nvPr/>
          </p:nvSpPr>
          <p:spPr>
            <a:xfrm>
              <a:off x="5913393" y="3435125"/>
              <a:ext cx="524157" cy="524157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033C3EF-6D0D-4904-928C-DE438BFE1DF1}"/>
                </a:ext>
              </a:extLst>
            </p:cNvPr>
            <p:cNvSpPr/>
            <p:nvPr/>
          </p:nvSpPr>
          <p:spPr>
            <a:xfrm>
              <a:off x="6539615" y="3435124"/>
              <a:ext cx="524157" cy="524157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FA38C6F-FC31-49D6-85AB-294AFF92128B}"/>
                </a:ext>
              </a:extLst>
            </p:cNvPr>
            <p:cNvSpPr/>
            <p:nvPr/>
          </p:nvSpPr>
          <p:spPr>
            <a:xfrm>
              <a:off x="6373227" y="3667087"/>
              <a:ext cx="268381" cy="268381"/>
            </a:xfrm>
            <a:prstGeom prst="ellipse">
              <a:avLst/>
            </a:prstGeom>
            <a:solidFill>
              <a:srgbClr val="0066FF">
                <a:alpha val="24706"/>
              </a:srgbClr>
            </a:solidFill>
            <a:ln>
              <a:solidFill>
                <a:schemeClr val="tx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6E060E33-0839-4F67-8F8A-E18561DD9FD8}"/>
                </a:ext>
              </a:extLst>
            </p:cNvPr>
            <p:cNvSpPr/>
            <p:nvPr/>
          </p:nvSpPr>
          <p:spPr>
            <a:xfrm>
              <a:off x="6373227" y="3843260"/>
              <a:ext cx="268381" cy="268381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5EC0C53-4F59-46EB-B942-FC0F50F0F876}"/>
                </a:ext>
              </a:extLst>
            </p:cNvPr>
            <p:cNvSpPr/>
            <p:nvPr/>
          </p:nvSpPr>
          <p:spPr>
            <a:xfrm>
              <a:off x="6528363" y="3935468"/>
              <a:ext cx="268381" cy="268381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DB7F2C5-D65D-43C1-8C45-07C8DA6CC0F6}"/>
                </a:ext>
              </a:extLst>
            </p:cNvPr>
            <p:cNvSpPr/>
            <p:nvPr/>
          </p:nvSpPr>
          <p:spPr>
            <a:xfrm>
              <a:off x="6218091" y="3935468"/>
              <a:ext cx="268381" cy="268381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</p:grpSp>
    </p:spTree>
    <p:extLst>
      <p:ext uri="{BB962C8B-B14F-4D97-AF65-F5344CB8AC3E}">
        <p14:creationId xmlns:p14="http://schemas.microsoft.com/office/powerpoint/2010/main" val="2559901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3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9F32D644-4AC2-466D-ABE9-6B40720852C2}"/>
              </a:ext>
            </a:extLst>
          </p:cNvPr>
          <p:cNvSpPr txBox="1"/>
          <p:nvPr/>
        </p:nvSpPr>
        <p:spPr>
          <a:xfrm>
            <a:off x="498259" y="4266170"/>
            <a:ext cx="42895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u="sng" dirty="0"/>
              <a:t>Buried Volume </a:t>
            </a:r>
            <a:r>
              <a:rPr lang="en-US" sz="1200" u="sng" dirty="0">
                <a:sym typeface="Wingdings" panose="05000000000000000000" pitchFamily="2" charset="2"/>
              </a:rPr>
              <a:t> higher productivity and lower PE </a:t>
            </a:r>
            <a:r>
              <a:rPr lang="en-US" sz="1200" u="sng" dirty="0" err="1">
                <a:sym typeface="Wingdings" panose="05000000000000000000" pitchFamily="2" charset="2"/>
              </a:rPr>
              <a:t>wt</a:t>
            </a:r>
            <a:r>
              <a:rPr lang="en-US" sz="1200" u="sng" dirty="0">
                <a:sym typeface="Wingdings" panose="05000000000000000000" pitchFamily="2" charset="2"/>
              </a:rPr>
              <a:t>%</a:t>
            </a:r>
            <a:endParaRPr lang="en-US" sz="1200" dirty="0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schemeClr val="accent5">
                  <a:lumMod val="75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444815" y="22148"/>
            <a:ext cx="8264215" cy="272895"/>
          </a:xfrm>
          <a:prstGeom prst="rect">
            <a:avLst/>
          </a:prstGeom>
        </p:spPr>
        <p:txBody>
          <a:bodyPr vert="horz" lIns="0" tIns="34272" rIns="0" bIns="34272" rtlCol="0" anchor="t">
            <a:noAutofit/>
          </a:bodyPr>
          <a:lstStyle>
            <a:lvl1pPr algn="l" defTabSz="45696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050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502DCA6-B81F-44F5-9F01-51C32F7F2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Buried Volume” to Evaluate Ligand </a:t>
            </a:r>
            <a:r>
              <a:rPr lang="en-US" dirty="0" err="1"/>
              <a:t>Sterics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924EEA-AF5D-4957-8EC5-4C4E4E0EC2DB}"/>
              </a:ext>
            </a:extLst>
          </p:cNvPr>
          <p:cNvSpPr txBox="1"/>
          <p:nvPr/>
        </p:nvSpPr>
        <p:spPr>
          <a:xfrm>
            <a:off x="5403016" y="816727"/>
            <a:ext cx="355578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 u="sng" dirty="0"/>
              <a:t>Buried Volume Around Nitrogen: %</a:t>
            </a:r>
            <a:r>
              <a:rPr lang="en-US" sz="1200" u="sng" dirty="0" err="1"/>
              <a:t>V</a:t>
            </a:r>
            <a:r>
              <a:rPr lang="en-US" sz="1200" u="sng" baseline="-25000" dirty="0" err="1"/>
              <a:t>Bur</a:t>
            </a:r>
            <a:r>
              <a:rPr lang="en-US" sz="1200" u="sng" dirty="0"/>
              <a:t>(N)</a:t>
            </a:r>
          </a:p>
          <a:p>
            <a:pPr algn="l"/>
            <a:endParaRPr lang="en-US" sz="1200" u="sng" baseline="-25000" dirty="0"/>
          </a:p>
          <a:p>
            <a:pPr algn="l"/>
            <a:r>
              <a:rPr lang="en-US" sz="1200" dirty="0"/>
              <a:t>Calculated with </a:t>
            </a:r>
            <a:r>
              <a:rPr lang="en-US" sz="1200" dirty="0" err="1"/>
              <a:t>SambVca</a:t>
            </a:r>
            <a:r>
              <a:rPr lang="en-US" sz="1200" dirty="0"/>
              <a:t> (Prof. Cavallo, KAUST)</a:t>
            </a:r>
          </a:p>
          <a:p>
            <a:pPr algn="l"/>
            <a:r>
              <a:rPr lang="en-US" sz="1200" dirty="0"/>
              <a:t>Calculable for </a:t>
            </a:r>
            <a:r>
              <a:rPr lang="en-US" sz="1200" b="1" dirty="0"/>
              <a:t>all</a:t>
            </a:r>
            <a:r>
              <a:rPr lang="en-US" sz="1200" dirty="0"/>
              <a:t> PNP ligands</a:t>
            </a:r>
          </a:p>
          <a:p>
            <a:pPr algn="l"/>
            <a:r>
              <a:rPr lang="en-US" sz="1200" dirty="0"/>
              <a:t>Correlates with some catalyst output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16BD868-2BA9-432B-AE94-808C6B28EE80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05580" y="1466260"/>
            <a:ext cx="2663969" cy="2663969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04308767-BED8-423C-8EEE-B12F7A412435}"/>
              </a:ext>
            </a:extLst>
          </p:cNvPr>
          <p:cNvSpPr txBox="1"/>
          <p:nvPr/>
        </p:nvSpPr>
        <p:spPr>
          <a:xfrm>
            <a:off x="6527810" y="4127671"/>
            <a:ext cx="1271502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</a:schemeClr>
                </a:solidFill>
              </a:rPr>
              <a:t>%</a:t>
            </a:r>
            <a:r>
              <a:rPr lang="en-US" sz="1200" dirty="0" err="1">
                <a:solidFill>
                  <a:schemeClr val="tx1">
                    <a:lumMod val="50000"/>
                  </a:schemeClr>
                </a:solidFill>
              </a:rPr>
              <a:t>V</a:t>
            </a:r>
            <a:r>
              <a:rPr lang="en-US" sz="1200" baseline="-25000" dirty="0" err="1">
                <a:solidFill>
                  <a:schemeClr val="tx1">
                    <a:lumMod val="50000"/>
                  </a:schemeClr>
                </a:solidFill>
              </a:rPr>
              <a:t>Bur</a:t>
            </a:r>
            <a:r>
              <a:rPr lang="en-US" sz="1200" dirty="0">
                <a:solidFill>
                  <a:schemeClr val="tx1">
                    <a:lumMod val="50000"/>
                  </a:schemeClr>
                </a:solidFill>
              </a:rPr>
              <a:t>(N) = 88.9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385C119-F46F-4954-820B-FEE6CD8D97C5}"/>
              </a:ext>
            </a:extLst>
          </p:cNvPr>
          <p:cNvGrpSpPr/>
          <p:nvPr/>
        </p:nvGrpSpPr>
        <p:grpSpPr>
          <a:xfrm>
            <a:off x="5487924" y="3643918"/>
            <a:ext cx="862784" cy="798099"/>
            <a:chOff x="5913393" y="3139717"/>
            <a:chExt cx="1150379" cy="1064132"/>
          </a:xfrm>
        </p:grpSpPr>
        <p:graphicFrame>
          <p:nvGraphicFramePr>
            <p:cNvPr id="21" name="Object 20">
              <a:extLst>
                <a:ext uri="{FF2B5EF4-FFF2-40B4-BE49-F238E27FC236}">
                  <a16:creationId xmlns:a16="http://schemas.microsoft.com/office/drawing/2014/main" id="{2C12B53C-72FD-4E98-B4D9-4BFC78A47D43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6032566" y="3377191"/>
            <a:ext cx="957263" cy="7239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8" imgW="956699" imgH="723207" progId="ChemDraw.Document.6.0">
                    <p:embed/>
                  </p:oleObj>
                </mc:Choice>
                <mc:Fallback>
                  <p:oleObj name="CS ChemDraw Drawing" r:id="rId8" imgW="956699" imgH="723207" progId="ChemDraw.Document.6.0">
                    <p:embed/>
                    <p:pic>
                      <p:nvPicPr>
                        <p:cNvPr id="21" name="Object 20">
                          <a:extLst>
                            <a:ext uri="{FF2B5EF4-FFF2-40B4-BE49-F238E27FC236}">
                              <a16:creationId xmlns:a16="http://schemas.microsoft.com/office/drawing/2014/main" id="{2C12B53C-72FD-4E98-B4D9-4BFC78A47D43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9"/>
                        <a:stretch>
                          <a:fillRect/>
                        </a:stretch>
                      </p:blipFill>
                      <p:spPr>
                        <a:xfrm>
                          <a:off x="6032566" y="3377191"/>
                          <a:ext cx="957263" cy="7239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CE1A77CC-132C-4699-B1D1-6EF6F6F08DC2}"/>
                </a:ext>
              </a:extLst>
            </p:cNvPr>
            <p:cNvSpPr/>
            <p:nvPr/>
          </p:nvSpPr>
          <p:spPr>
            <a:xfrm>
              <a:off x="6218091" y="3139717"/>
              <a:ext cx="605772" cy="605772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EF8D498C-83CB-400C-8979-3573FC51688B}"/>
                </a:ext>
              </a:extLst>
            </p:cNvPr>
            <p:cNvSpPr/>
            <p:nvPr/>
          </p:nvSpPr>
          <p:spPr>
            <a:xfrm>
              <a:off x="5913393" y="3435125"/>
              <a:ext cx="524157" cy="524157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033C3EF-6D0D-4904-928C-DE438BFE1DF1}"/>
                </a:ext>
              </a:extLst>
            </p:cNvPr>
            <p:cNvSpPr/>
            <p:nvPr/>
          </p:nvSpPr>
          <p:spPr>
            <a:xfrm>
              <a:off x="6539615" y="3435124"/>
              <a:ext cx="524157" cy="524157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FA38C6F-FC31-49D6-85AB-294AFF92128B}"/>
                </a:ext>
              </a:extLst>
            </p:cNvPr>
            <p:cNvSpPr/>
            <p:nvPr/>
          </p:nvSpPr>
          <p:spPr>
            <a:xfrm>
              <a:off x="6373227" y="3667087"/>
              <a:ext cx="268381" cy="268381"/>
            </a:xfrm>
            <a:prstGeom prst="ellipse">
              <a:avLst/>
            </a:prstGeom>
            <a:solidFill>
              <a:srgbClr val="0066FF">
                <a:alpha val="24706"/>
              </a:srgbClr>
            </a:solidFill>
            <a:ln>
              <a:solidFill>
                <a:schemeClr val="tx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6E060E33-0839-4F67-8F8A-E18561DD9FD8}"/>
                </a:ext>
              </a:extLst>
            </p:cNvPr>
            <p:cNvSpPr/>
            <p:nvPr/>
          </p:nvSpPr>
          <p:spPr>
            <a:xfrm>
              <a:off x="6373227" y="3843260"/>
              <a:ext cx="268381" cy="268381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5EC0C53-4F59-46EB-B942-FC0F50F0F876}"/>
                </a:ext>
              </a:extLst>
            </p:cNvPr>
            <p:cNvSpPr/>
            <p:nvPr/>
          </p:nvSpPr>
          <p:spPr>
            <a:xfrm>
              <a:off x="6528363" y="3935468"/>
              <a:ext cx="268381" cy="268381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DB7F2C5-D65D-43C1-8C45-07C8DA6CC0F6}"/>
                </a:ext>
              </a:extLst>
            </p:cNvPr>
            <p:cNvSpPr/>
            <p:nvPr/>
          </p:nvSpPr>
          <p:spPr>
            <a:xfrm>
              <a:off x="6218091" y="3935468"/>
              <a:ext cx="268381" cy="268381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26B738A-E8F0-A177-818F-CA6D63889BFF}"/>
              </a:ext>
            </a:extLst>
          </p:cNvPr>
          <p:cNvGrpSpPr/>
          <p:nvPr/>
        </p:nvGrpSpPr>
        <p:grpSpPr>
          <a:xfrm>
            <a:off x="513618" y="884869"/>
            <a:ext cx="1466869" cy="1268335"/>
            <a:chOff x="698628" y="1650619"/>
            <a:chExt cx="1466869" cy="1268335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5748FADF-14C2-F16E-0577-468A9A210ABB}"/>
                </a:ext>
              </a:extLst>
            </p:cNvPr>
            <p:cNvSpPr/>
            <p:nvPr/>
          </p:nvSpPr>
          <p:spPr>
            <a:xfrm>
              <a:off x="698628" y="1650619"/>
              <a:ext cx="1464351" cy="1268335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259A98C-5F21-9000-74C0-60C7DF48B6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16864" y="1669473"/>
              <a:ext cx="114360" cy="141589"/>
            </a:xfrm>
            <a:prstGeom prst="rect">
              <a:avLst/>
            </a:prstGeom>
          </p:spPr>
        </p:pic>
        <p:graphicFrame>
          <p:nvGraphicFramePr>
            <p:cNvPr id="9" name="Object 8">
              <a:extLst>
                <a:ext uri="{FF2B5EF4-FFF2-40B4-BE49-F238E27FC236}">
                  <a16:creationId xmlns:a16="http://schemas.microsoft.com/office/drawing/2014/main" id="{EB1EF2B8-44E1-2FD1-1356-5A1CAE828E70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915052042"/>
                </p:ext>
              </p:extLst>
            </p:nvPr>
          </p:nvGraphicFramePr>
          <p:xfrm>
            <a:off x="849460" y="1672767"/>
            <a:ext cx="1316037" cy="124618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1" imgW="1316238" imgH="1246286" progId="ChemDraw.Document.6.0">
                    <p:embed/>
                  </p:oleObj>
                </mc:Choice>
                <mc:Fallback>
                  <p:oleObj name="CS ChemDraw Drawing" r:id="rId11" imgW="1316238" imgH="1246286" progId="ChemDraw.Document.6.0">
                    <p:embed/>
                    <p:pic>
                      <p:nvPicPr>
                        <p:cNvPr id="9" name="Object 8">
                          <a:extLst>
                            <a:ext uri="{FF2B5EF4-FFF2-40B4-BE49-F238E27FC236}">
                              <a16:creationId xmlns:a16="http://schemas.microsoft.com/office/drawing/2014/main" id="{EB1EF2B8-44E1-2FD1-1356-5A1CAE828E70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2"/>
                        <a:stretch>
                          <a:fillRect/>
                        </a:stretch>
                      </p:blipFill>
                      <p:spPr>
                        <a:xfrm>
                          <a:off x="849460" y="1672767"/>
                          <a:ext cx="1316037" cy="1246187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4B97720-D71B-074A-6F8A-1F5DDEF66637}"/>
              </a:ext>
            </a:extLst>
          </p:cNvPr>
          <p:cNvGrpSpPr/>
          <p:nvPr/>
        </p:nvGrpSpPr>
        <p:grpSpPr>
          <a:xfrm>
            <a:off x="513617" y="2207587"/>
            <a:ext cx="1464351" cy="1268335"/>
            <a:chOff x="2174070" y="1650618"/>
            <a:chExt cx="1464351" cy="1268335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3CBC4209-373C-CFA6-0FE5-11DB358CBA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208552" y="1650619"/>
              <a:ext cx="183682" cy="206642"/>
            </a:xfrm>
            <a:prstGeom prst="rect">
              <a:avLst/>
            </a:prstGeom>
          </p:spPr>
        </p:pic>
        <p:graphicFrame>
          <p:nvGraphicFramePr>
            <p:cNvPr id="14" name="Object 13">
              <a:extLst>
                <a:ext uri="{FF2B5EF4-FFF2-40B4-BE49-F238E27FC236}">
                  <a16:creationId xmlns:a16="http://schemas.microsoft.com/office/drawing/2014/main" id="{1E061AE5-FC26-4929-129A-C128F2A75AF1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701185338"/>
                </p:ext>
              </p:extLst>
            </p:nvPr>
          </p:nvGraphicFramePr>
          <p:xfrm>
            <a:off x="2277565" y="1709278"/>
            <a:ext cx="1316037" cy="117316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4" imgW="1316238" imgH="1173341" progId="ChemDraw.Document.6.0">
                    <p:embed/>
                  </p:oleObj>
                </mc:Choice>
                <mc:Fallback>
                  <p:oleObj name="CS ChemDraw Drawing" r:id="rId14" imgW="1316238" imgH="1173341" progId="ChemDraw.Document.6.0">
                    <p:embed/>
                    <p:pic>
                      <p:nvPicPr>
                        <p:cNvPr id="14" name="Object 13">
                          <a:extLst>
                            <a:ext uri="{FF2B5EF4-FFF2-40B4-BE49-F238E27FC236}">
                              <a16:creationId xmlns:a16="http://schemas.microsoft.com/office/drawing/2014/main" id="{1E061AE5-FC26-4929-129A-C128F2A75AF1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5"/>
                        <a:stretch>
                          <a:fillRect/>
                        </a:stretch>
                      </p:blipFill>
                      <p:spPr>
                        <a:xfrm>
                          <a:off x="2277565" y="1709278"/>
                          <a:ext cx="1316037" cy="1173163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E69441D-3545-6BC1-0C88-33208758D61C}"/>
                </a:ext>
              </a:extLst>
            </p:cNvPr>
            <p:cNvSpPr/>
            <p:nvPr/>
          </p:nvSpPr>
          <p:spPr>
            <a:xfrm>
              <a:off x="2174070" y="1650618"/>
              <a:ext cx="1464351" cy="1268335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39492D7C-0F6A-921B-8F26-62940BB53A9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7159499"/>
              </p:ext>
            </p:extLst>
          </p:nvPr>
        </p:nvGraphicFramePr>
        <p:xfrm>
          <a:off x="2244935" y="756944"/>
          <a:ext cx="2580395" cy="19807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3D1E07EF-29AE-B596-6727-3DFB9F23B6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59117090"/>
              </p:ext>
            </p:extLst>
          </p:nvPr>
        </p:nvGraphicFramePr>
        <p:xfrm>
          <a:off x="2291235" y="2308791"/>
          <a:ext cx="2510829" cy="194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37" name="Rectangle 36">
            <a:extLst>
              <a:ext uri="{FF2B5EF4-FFF2-40B4-BE49-F238E27FC236}">
                <a16:creationId xmlns:a16="http://schemas.microsoft.com/office/drawing/2014/main" id="{8549557D-93DC-49AC-5165-6F780B368107}"/>
              </a:ext>
            </a:extLst>
          </p:cNvPr>
          <p:cNvSpPr/>
          <p:nvPr/>
        </p:nvSpPr>
        <p:spPr>
          <a:xfrm>
            <a:off x="3332398" y="2411133"/>
            <a:ext cx="856527" cy="1915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0755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Graphic spid="35" grpId="0">
        <p:bldAsOne/>
      </p:bldGraphic>
      <p:bldGraphic spid="36" grpId="0">
        <p:bldAsOne/>
      </p:bldGraphic>
      <p:bldP spid="3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 txBox="1">
            <a:spLocks/>
          </p:cNvSpPr>
          <p:nvPr/>
        </p:nvSpPr>
        <p:spPr>
          <a:xfrm>
            <a:off x="444813" y="206004"/>
            <a:ext cx="8264215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linear </a:t>
            </a:r>
            <a:r>
              <a:rPr lang="el-GR" dirty="0"/>
              <a:t>α</a:t>
            </a:r>
            <a:r>
              <a:rPr lang="en-US" dirty="0"/>
              <a:t>-olefins for LLDPE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6371590" y="1626076"/>
          <a:ext cx="2452370" cy="2283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" imgW="1155013" imgH="1075655" progId="ChemDraw.Document.6.0">
                  <p:embed/>
                </p:oleObj>
              </mc:Choice>
              <mc:Fallback>
                <p:oleObj name="CS ChemDraw Drawing" r:id="rId2" imgW="1155013" imgH="1075655" progId="ChemDraw.Document.6.0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6371590" y="1626076"/>
                        <a:ext cx="2452370" cy="22839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450342" y="1885279"/>
            <a:ext cx="1079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buten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334267" y="2802700"/>
            <a:ext cx="1311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hexen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39841" y="3764378"/>
            <a:ext cx="1700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octen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5753100" y="1386840"/>
            <a:ext cx="15240" cy="294894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Object 13"/>
          <p:cNvGraphicFramePr>
            <a:graphicFrameLocks noChangeAspect="1"/>
          </p:cNvGraphicFramePr>
          <p:nvPr/>
        </p:nvGraphicFramePr>
        <p:xfrm>
          <a:off x="281994" y="2034596"/>
          <a:ext cx="430212" cy="2778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4" imgW="228421" imgH="147316" progId="ChemDraw.Document.6.0">
                  <p:embed/>
                </p:oleObj>
              </mc:Choice>
              <mc:Fallback>
                <p:oleObj name="CS ChemDraw Drawing" r:id="rId4" imgW="228421" imgH="147316" progId="ChemDraw.Document.6.0">
                  <p:embed/>
                  <p:pic>
                    <p:nvPicPr>
                      <p:cNvPr id="14" name="Object 1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1994" y="2034596"/>
                        <a:ext cx="430212" cy="2778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494682" y="2745654"/>
            <a:ext cx="1079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butene</a:t>
            </a:r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76679" y="1683211"/>
            <a:ext cx="1017328" cy="1008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1205429" y="3260575"/>
            <a:ext cx="952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hexene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-61629" y="2223210"/>
            <a:ext cx="1079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ethylen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194996" y="3441300"/>
            <a:ext cx="9171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octene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 flipV="1">
            <a:off x="1319499" y="2468050"/>
            <a:ext cx="683919" cy="334650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V="1">
            <a:off x="1832508" y="2764899"/>
            <a:ext cx="369541" cy="521246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2573550" y="2747352"/>
            <a:ext cx="37323" cy="756459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753005" y="2177094"/>
            <a:ext cx="1250413" cy="0"/>
          </a:xfrm>
          <a:prstGeom prst="straightConnector1">
            <a:avLst/>
          </a:prstGeom>
          <a:ln w="15875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1451764" y="1291905"/>
            <a:ext cx="22561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+mn-lt"/>
              </a:rPr>
              <a:t>polyethylene plant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32602" y="3555070"/>
            <a:ext cx="22607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  <a:latin typeface="+mn-lt"/>
              </a:rPr>
              <a:t>polymer quality increase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284731" y="1461182"/>
            <a:ext cx="2145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  <a:latin typeface="+mn-lt"/>
              </a:rPr>
              <a:t>LLDPE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347170" y="3775190"/>
            <a:ext cx="2612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  <a:latin typeface="+mn-lt"/>
              </a:rPr>
              <a:t>highest quality plastic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3112112" y="2177094"/>
            <a:ext cx="316888" cy="3885"/>
          </a:xfrm>
          <a:prstGeom prst="straightConnector1">
            <a:avLst/>
          </a:prstGeom>
          <a:ln w="15875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1" name="Object 30"/>
          <p:cNvGraphicFramePr>
            <a:graphicFrameLocks noChangeAspect="1"/>
          </p:cNvGraphicFramePr>
          <p:nvPr/>
        </p:nvGraphicFramePr>
        <p:xfrm>
          <a:off x="3663712" y="1855262"/>
          <a:ext cx="1573213" cy="14239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7" imgW="837783" imgH="758233" progId="ChemDraw.Document.6.0">
                  <p:embed/>
                </p:oleObj>
              </mc:Choice>
              <mc:Fallback>
                <p:oleObj name="CS ChemDraw Drawing" r:id="rId7" imgW="837783" imgH="758233" progId="ChemDraw.Document.6.0">
                  <p:embed/>
                  <p:pic>
                    <p:nvPicPr>
                      <p:cNvPr id="31" name="Object 30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663712" y="1855262"/>
                        <a:ext cx="1573213" cy="14239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2" name="Object 31"/>
          <p:cNvGraphicFramePr>
            <a:graphicFrameLocks noChangeAspect="1"/>
          </p:cNvGraphicFramePr>
          <p:nvPr/>
        </p:nvGraphicFramePr>
        <p:xfrm>
          <a:off x="3664506" y="1855262"/>
          <a:ext cx="1571625" cy="1936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9" imgW="837783" imgH="1032553" progId="ChemDraw.Document.6.0">
                  <p:embed/>
                </p:oleObj>
              </mc:Choice>
              <mc:Fallback>
                <p:oleObj name="CS ChemDraw Drawing" r:id="rId9" imgW="837783" imgH="1032553" progId="ChemDraw.Document.6.0">
                  <p:embed/>
                  <p:pic>
                    <p:nvPicPr>
                      <p:cNvPr id="32" name="Object 3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664506" y="1855262"/>
                        <a:ext cx="1571625" cy="1936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" name="Object 32"/>
          <p:cNvGraphicFramePr>
            <a:graphicFrameLocks noChangeAspect="1"/>
          </p:cNvGraphicFramePr>
          <p:nvPr/>
        </p:nvGraphicFramePr>
        <p:xfrm>
          <a:off x="3663712" y="1855262"/>
          <a:ext cx="1573213" cy="576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1" imgW="837783" imgH="307454" progId="ChemDraw.Document.6.0">
                  <p:embed/>
                </p:oleObj>
              </mc:Choice>
              <mc:Fallback>
                <p:oleObj name="CS ChemDraw Drawing" r:id="rId11" imgW="837783" imgH="307454" progId="ChemDraw.Document.6.0">
                  <p:embed/>
                  <p:pic>
                    <p:nvPicPr>
                      <p:cNvPr id="33" name="Object 32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663712" y="1855262"/>
                        <a:ext cx="1573213" cy="576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4" name="Object 33"/>
          <p:cNvGraphicFramePr>
            <a:graphicFrameLocks noChangeAspect="1"/>
          </p:cNvGraphicFramePr>
          <p:nvPr/>
        </p:nvGraphicFramePr>
        <p:xfrm>
          <a:off x="3663712" y="1855262"/>
          <a:ext cx="1573213" cy="9096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3" imgW="837783" imgH="483913" progId="ChemDraw.Document.6.0">
                  <p:embed/>
                </p:oleObj>
              </mc:Choice>
              <mc:Fallback>
                <p:oleObj name="CS ChemDraw Drawing" r:id="rId13" imgW="837783" imgH="483913" progId="ChemDraw.Document.6.0">
                  <p:embed/>
                  <p:pic>
                    <p:nvPicPr>
                      <p:cNvPr id="34" name="Object 33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3663712" y="1855262"/>
                        <a:ext cx="1573213" cy="9096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A74969F0-DDA2-4F45-B6CE-20E9A5814E90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0FAB1C6-36F4-A53C-5B38-93E90425D24D}"/>
              </a:ext>
            </a:extLst>
          </p:cNvPr>
          <p:cNvSpPr/>
          <p:nvPr/>
        </p:nvSpPr>
        <p:spPr>
          <a:xfrm>
            <a:off x="5587200" y="1099226"/>
            <a:ext cx="3459523" cy="337549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20B1F32-A88F-F008-DA5C-998657C885E1}"/>
              </a:ext>
            </a:extLst>
          </p:cNvPr>
          <p:cNvGrpSpPr/>
          <p:nvPr/>
        </p:nvGrpSpPr>
        <p:grpSpPr>
          <a:xfrm>
            <a:off x="7418060" y="912164"/>
            <a:ext cx="1394934" cy="1352994"/>
            <a:chOff x="7418060" y="912164"/>
            <a:chExt cx="1394934" cy="1352994"/>
          </a:xfrm>
        </p:grpSpPr>
        <p:pic>
          <p:nvPicPr>
            <p:cNvPr id="18" name="Picture 10" descr="https://encrypted-tbn0.gstatic.com/images?q=tbn%3AANd9GcSr7JQTJTy4KoJM7RJG74Da3vPHvo9zfdZMQsX6rs25xUc6SBB3q6w_b9YnEGTk8wEGAVXXnPA&amp;usqp=CAc">
              <a:extLst>
                <a:ext uri="{FF2B5EF4-FFF2-40B4-BE49-F238E27FC236}">
                  <a16:creationId xmlns:a16="http://schemas.microsoft.com/office/drawing/2014/main" id="{AFBABF63-F0A6-AD97-1744-903F8F9598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85717" y="1308878"/>
              <a:ext cx="956280" cy="9562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B1D045B-31D8-A2C1-8593-C42EE77399F7}"/>
                </a:ext>
              </a:extLst>
            </p:cNvPr>
            <p:cNvSpPr txBox="1"/>
            <p:nvPr/>
          </p:nvSpPr>
          <p:spPr>
            <a:xfrm>
              <a:off x="7418060" y="912164"/>
              <a:ext cx="139493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flexible and food-safe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F1CC4D7-B78E-F53F-156A-1F6C177179BF}"/>
              </a:ext>
            </a:extLst>
          </p:cNvPr>
          <p:cNvGrpSpPr/>
          <p:nvPr/>
        </p:nvGrpSpPr>
        <p:grpSpPr>
          <a:xfrm>
            <a:off x="7189637" y="2564494"/>
            <a:ext cx="1851790" cy="1335870"/>
            <a:chOff x="7189637" y="2564494"/>
            <a:chExt cx="1851790" cy="1335870"/>
          </a:xfrm>
        </p:grpSpPr>
        <p:pic>
          <p:nvPicPr>
            <p:cNvPr id="27" name="Picture 12" descr="http://www.blspolymers.com/images/img-pe-compound-ftc.png">
              <a:extLst>
                <a:ext uri="{FF2B5EF4-FFF2-40B4-BE49-F238E27FC236}">
                  <a16:creationId xmlns:a16="http://schemas.microsoft.com/office/drawing/2014/main" id="{545AEFE9-692E-A27E-A9AB-A2221B26FB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18060" y="2564494"/>
              <a:ext cx="1335870" cy="1335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8210F82-5346-4397-0393-6E0137C7EC52}"/>
                </a:ext>
              </a:extLst>
            </p:cNvPr>
            <p:cNvSpPr txBox="1"/>
            <p:nvPr/>
          </p:nvSpPr>
          <p:spPr>
            <a:xfrm>
              <a:off x="7189637" y="2579006"/>
              <a:ext cx="185179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electrical and chemical safety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AC13E3B-9338-8E2D-88AB-082DC5380B3C}"/>
              </a:ext>
            </a:extLst>
          </p:cNvPr>
          <p:cNvGrpSpPr/>
          <p:nvPr/>
        </p:nvGrpSpPr>
        <p:grpSpPr>
          <a:xfrm>
            <a:off x="5850693" y="2579692"/>
            <a:ext cx="1338943" cy="1453434"/>
            <a:chOff x="5850693" y="2579692"/>
            <a:chExt cx="1338943" cy="145343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BF7AA60F-7C4F-E53C-0941-6762B3ADDCE2}"/>
                </a:ext>
              </a:extLst>
            </p:cNvPr>
            <p:cNvSpPr txBox="1"/>
            <p:nvPr/>
          </p:nvSpPr>
          <p:spPr>
            <a:xfrm>
              <a:off x="6038356" y="2579692"/>
              <a:ext cx="80823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stretchable</a:t>
              </a:r>
            </a:p>
          </p:txBody>
        </p:sp>
        <p:pic>
          <p:nvPicPr>
            <p:cNvPr id="43" name="Picture 20" descr="https://encrypted-tbn0.gstatic.com/images?q=tbn%3AANd9GcTF64ylcdfN1roNYmYw-wDGPzWiciVxBK1uFQ1kERgJAMvEm0U9WmcNuChJmRkr4oCWG350HaGp&amp;usqp=CAc">
              <a:extLst>
                <a:ext uri="{FF2B5EF4-FFF2-40B4-BE49-F238E27FC236}">
                  <a16:creationId xmlns:a16="http://schemas.microsoft.com/office/drawing/2014/main" id="{69F68612-C268-CA64-0AE6-DEB85453F6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50693" y="2789822"/>
              <a:ext cx="1338943" cy="12433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6153C70-F0C0-C271-EE79-2743A9668BEA}"/>
              </a:ext>
            </a:extLst>
          </p:cNvPr>
          <p:cNvGrpSpPr/>
          <p:nvPr/>
        </p:nvGrpSpPr>
        <p:grpSpPr>
          <a:xfrm>
            <a:off x="5720905" y="908044"/>
            <a:ext cx="1567034" cy="1170787"/>
            <a:chOff x="5720905" y="908044"/>
            <a:chExt cx="1567034" cy="1170787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951425B-726D-F7B9-E5E8-54DB6DA75230}"/>
                </a:ext>
              </a:extLst>
            </p:cNvPr>
            <p:cNvSpPr txBox="1"/>
            <p:nvPr/>
          </p:nvSpPr>
          <p:spPr>
            <a:xfrm>
              <a:off x="6253391" y="908044"/>
              <a:ext cx="50206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ough</a:t>
              </a: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838978CC-8DEB-FCB7-C5E4-AD39A9F7AA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clrChange>
                <a:clrFrom>
                  <a:srgbClr val="F5F5F5"/>
                </a:clrFrom>
                <a:clrTo>
                  <a:srgbClr val="F5F5F5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720905" y="1393122"/>
              <a:ext cx="1567034" cy="6857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601349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500"/>
                            </p:stCondLst>
                            <p:childTnLst>
                              <p:par>
                                <p:cTn id="10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000"/>
                            </p:stCondLst>
                            <p:childTnLst>
                              <p:par>
                                <p:cTn id="10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1500"/>
                            </p:stCondLst>
                            <p:childTnLst>
                              <p:par>
                                <p:cTn id="1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15" grpId="0"/>
      <p:bldP spid="21" grpId="0"/>
      <p:bldP spid="22" grpId="0"/>
      <p:bldP spid="23" grpId="0"/>
      <p:bldP spid="38" grpId="0"/>
      <p:bldP spid="39" grpId="0"/>
      <p:bldP spid="39" grpId="1"/>
      <p:bldP spid="40" grpId="0"/>
      <p:bldP spid="41" grpId="0"/>
      <p:bldP spid="1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63660C3E-C319-4E6C-84CC-BD755DB3CB4A}"/>
              </a:ext>
            </a:extLst>
          </p:cNvPr>
          <p:cNvGrpSpPr/>
          <p:nvPr/>
        </p:nvGrpSpPr>
        <p:grpSpPr>
          <a:xfrm>
            <a:off x="120882" y="205983"/>
            <a:ext cx="8606554" cy="4440648"/>
            <a:chOff x="161175" y="274644"/>
            <a:chExt cx="11475405" cy="592086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7781530-CC0A-4238-8B27-C0B4C7FE987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1175" y="441911"/>
              <a:ext cx="11475405" cy="5753597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D92FAE7-64F6-4429-9B61-B30EA6E45B5E}"/>
                </a:ext>
              </a:extLst>
            </p:cNvPr>
            <p:cNvSpPr/>
            <p:nvPr/>
          </p:nvSpPr>
          <p:spPr>
            <a:xfrm>
              <a:off x="8552985" y="274644"/>
              <a:ext cx="2671747" cy="88193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schemeClr val="accent5">
                  <a:lumMod val="75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502DCA6-B81F-44F5-9F01-51C32F7F21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815" y="205983"/>
            <a:ext cx="8264215" cy="618166"/>
          </a:xfrm>
        </p:spPr>
        <p:txBody>
          <a:bodyPr/>
          <a:lstStyle/>
          <a:p>
            <a:r>
              <a:rPr lang="en-US" sz="2000" dirty="0"/>
              <a:t>Computational: First Detailed Reaction Mechanism of Full Sasol Ligand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37B6423-CFC7-4C31-8351-811C9C27B8D8}"/>
              </a:ext>
            </a:extLst>
          </p:cNvPr>
          <p:cNvSpPr txBox="1"/>
          <p:nvPr/>
        </p:nvSpPr>
        <p:spPr>
          <a:xfrm>
            <a:off x="978958" y="3534127"/>
            <a:ext cx="2403050" cy="276999"/>
          </a:xfrm>
          <a:prstGeom prst="rect">
            <a:avLst/>
          </a:prstGeom>
          <a:solidFill>
            <a:srgbClr val="000099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u="sng" dirty="0">
                <a:solidFill>
                  <a:prstClr val="white"/>
                </a:solidFill>
              </a:rPr>
              <a:t>turnover-limiting barriers</a:t>
            </a:r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73118884-4FCF-4C0B-A711-E7F138505499}"/>
              </a:ext>
            </a:extLst>
          </p:cNvPr>
          <p:cNvCxnSpPr>
            <a:cxnSpLocks/>
          </p:cNvCxnSpPr>
          <p:nvPr/>
        </p:nvCxnSpPr>
        <p:spPr>
          <a:xfrm flipH="1" flipV="1">
            <a:off x="2191215" y="1354872"/>
            <a:ext cx="443261" cy="2179254"/>
          </a:xfrm>
          <a:prstGeom prst="straightConnector1">
            <a:avLst/>
          </a:prstGeom>
          <a:noFill/>
          <a:ln w="12700" cap="flat" cmpd="sng" algn="ctr">
            <a:solidFill>
              <a:srgbClr val="3333AD"/>
            </a:solidFill>
            <a:prstDash val="solid"/>
            <a:tailEnd type="triangle"/>
          </a:ln>
          <a:effectLst/>
        </p:spPr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D4E366DA-62FB-4970-8464-0EF25B290AB8}"/>
              </a:ext>
            </a:extLst>
          </p:cNvPr>
          <p:cNvCxnSpPr>
            <a:cxnSpLocks/>
          </p:cNvCxnSpPr>
          <p:nvPr/>
        </p:nvCxnSpPr>
        <p:spPr>
          <a:xfrm flipV="1">
            <a:off x="2634475" y="1421668"/>
            <a:ext cx="1384922" cy="2112458"/>
          </a:xfrm>
          <a:prstGeom prst="straightConnector1">
            <a:avLst/>
          </a:prstGeom>
          <a:noFill/>
          <a:ln w="12700" cap="flat" cmpd="sng" algn="ctr">
            <a:solidFill>
              <a:srgbClr val="3333AD"/>
            </a:solidFill>
            <a:prstDash val="solid"/>
            <a:tailEnd type="triangle"/>
          </a:ln>
          <a:effectLst/>
        </p:spPr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451395AE-AD14-4304-B3F4-EEB60C5ED65D}"/>
              </a:ext>
            </a:extLst>
          </p:cNvPr>
          <p:cNvSpPr txBox="1"/>
          <p:nvPr/>
        </p:nvSpPr>
        <p:spPr>
          <a:xfrm>
            <a:off x="1112363" y="3810934"/>
            <a:ext cx="2157705" cy="276999"/>
          </a:xfrm>
          <a:prstGeom prst="rect">
            <a:avLst/>
          </a:prstGeom>
          <a:solidFill>
            <a:srgbClr val="008000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u="sng" dirty="0">
                <a:solidFill>
                  <a:prstClr val="white"/>
                </a:solidFill>
              </a:rPr>
              <a:t>product-determining barriers</a:t>
            </a: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EF816631-1942-4362-8D12-016A6FB3CD1F}"/>
              </a:ext>
            </a:extLst>
          </p:cNvPr>
          <p:cNvCxnSpPr>
            <a:cxnSpLocks/>
            <a:stCxn id="64" idx="3"/>
          </p:cNvCxnSpPr>
          <p:nvPr/>
        </p:nvCxnSpPr>
        <p:spPr>
          <a:xfrm flipV="1">
            <a:off x="3270068" y="2729487"/>
            <a:ext cx="4494363" cy="1219947"/>
          </a:xfrm>
          <a:prstGeom prst="straightConnector1">
            <a:avLst/>
          </a:prstGeom>
          <a:noFill/>
          <a:ln w="12700" cap="flat" cmpd="sng" algn="ctr">
            <a:solidFill>
              <a:srgbClr val="339933"/>
            </a:solidFill>
            <a:prstDash val="solid"/>
            <a:tailEnd type="diamond"/>
          </a:ln>
          <a:effectLst/>
        </p:spPr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D6AA4ABE-2F95-403D-BD42-DA8017E1802E}"/>
              </a:ext>
            </a:extLst>
          </p:cNvPr>
          <p:cNvCxnSpPr>
            <a:cxnSpLocks/>
            <a:stCxn id="64" idx="3"/>
          </p:cNvCxnSpPr>
          <p:nvPr/>
        </p:nvCxnSpPr>
        <p:spPr>
          <a:xfrm flipV="1">
            <a:off x="3270068" y="2489033"/>
            <a:ext cx="2603866" cy="1460401"/>
          </a:xfrm>
          <a:prstGeom prst="straightConnector1">
            <a:avLst/>
          </a:prstGeom>
          <a:noFill/>
          <a:ln w="12700" cap="flat" cmpd="sng" algn="ctr">
            <a:solidFill>
              <a:srgbClr val="339933"/>
            </a:solidFill>
            <a:prstDash val="solid"/>
            <a:tailEnd type="diamond"/>
          </a:ln>
          <a:effectLst/>
        </p:spPr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356D6C6A-C34D-4021-BF5A-AFE6A103317B}"/>
              </a:ext>
            </a:extLst>
          </p:cNvPr>
          <p:cNvSpPr/>
          <p:nvPr/>
        </p:nvSpPr>
        <p:spPr>
          <a:xfrm>
            <a:off x="2538064" y="4676572"/>
            <a:ext cx="462938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Lin, S.; Elanany, M.; Khawaji, M.; Xu, W. </a:t>
            </a:r>
            <a:r>
              <a:rPr lang="en-US" sz="900" i="1" dirty="0"/>
              <a:t>ACS </a:t>
            </a:r>
            <a:r>
              <a:rPr lang="en-US" sz="900" i="1" dirty="0" err="1"/>
              <a:t>Catal</a:t>
            </a:r>
            <a:r>
              <a:rPr lang="en-US" sz="900" i="1" dirty="0"/>
              <a:t>.</a:t>
            </a:r>
            <a:r>
              <a:rPr lang="en-US" sz="900" dirty="0"/>
              <a:t> </a:t>
            </a:r>
            <a:r>
              <a:rPr lang="en-US" sz="900" b="1" dirty="0"/>
              <a:t>2021</a:t>
            </a:r>
            <a:r>
              <a:rPr lang="en-US" sz="900" dirty="0"/>
              <a:t>, </a:t>
            </a:r>
            <a:r>
              <a:rPr lang="en-US" sz="900" i="1" dirty="0"/>
              <a:t>in prepara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FC86EDE-A415-4085-8130-4B8FA96B4292}"/>
              </a:ext>
            </a:extLst>
          </p:cNvPr>
          <p:cNvSpPr/>
          <p:nvPr/>
        </p:nvSpPr>
        <p:spPr>
          <a:xfrm>
            <a:off x="716163" y="468209"/>
            <a:ext cx="7471161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50" dirty="0"/>
              <a:t>correct prediction of 1-octene/1-hexene rati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1290682-848E-47E2-8486-B9809B69C9F6}"/>
              </a:ext>
            </a:extLst>
          </p:cNvPr>
          <p:cNvSpPr txBox="1"/>
          <p:nvPr/>
        </p:nvSpPr>
        <p:spPr>
          <a:xfrm>
            <a:off x="3431974" y="3967833"/>
            <a:ext cx="2436785" cy="646331"/>
          </a:xfrm>
          <a:prstGeom prst="rect">
            <a:avLst/>
          </a:prstGeom>
          <a:solidFill>
            <a:srgbClr val="5F5F5F">
              <a:alpha val="81176"/>
            </a:srgb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going</a:t>
            </a: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X</a:t>
            </a: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lvents may act as secondary ligands to alter product distribution</a:t>
            </a:r>
          </a:p>
        </p:txBody>
      </p:sp>
    </p:spTree>
    <p:extLst>
      <p:ext uri="{BB962C8B-B14F-4D97-AF65-F5344CB8AC3E}">
        <p14:creationId xmlns:p14="http://schemas.microsoft.com/office/powerpoint/2010/main" val="6903842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  <p:bldP spid="64" grpId="0" animBg="1"/>
      <p:bldP spid="2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 txBox="1">
            <a:spLocks/>
          </p:cNvSpPr>
          <p:nvPr/>
        </p:nvSpPr>
        <p:spPr>
          <a:xfrm>
            <a:off x="444813" y="206004"/>
            <a:ext cx="8264215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linear </a:t>
            </a:r>
            <a:r>
              <a:rPr lang="el-GR" dirty="0"/>
              <a:t>α</a:t>
            </a:r>
            <a:r>
              <a:rPr lang="en-US" dirty="0"/>
              <a:t>-olefins for LLDPE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6371590" y="1626076"/>
          <a:ext cx="2452370" cy="2283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" imgW="1155013" imgH="1075655" progId="ChemDraw.Document.6.0">
                  <p:embed/>
                </p:oleObj>
              </mc:Choice>
              <mc:Fallback>
                <p:oleObj name="CS ChemDraw Drawing" r:id="rId3" imgW="1155013" imgH="1075655" progId="ChemDraw.Document.6.0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371590" y="1626076"/>
                        <a:ext cx="2452370" cy="22839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450342" y="1885279"/>
            <a:ext cx="1079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buten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334267" y="2802700"/>
            <a:ext cx="1311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hexen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39841" y="3764378"/>
            <a:ext cx="1700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octen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5753100" y="1386840"/>
            <a:ext cx="15240" cy="294894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A74969F0-DDA2-4F45-B6CE-20E9A5814E90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0FAB1C6-36F4-A53C-5B38-93E90425D24D}"/>
              </a:ext>
            </a:extLst>
          </p:cNvPr>
          <p:cNvSpPr/>
          <p:nvPr/>
        </p:nvSpPr>
        <p:spPr>
          <a:xfrm>
            <a:off x="5587200" y="1099226"/>
            <a:ext cx="3459523" cy="337549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20B1F32-A88F-F008-DA5C-998657C885E1}"/>
              </a:ext>
            </a:extLst>
          </p:cNvPr>
          <p:cNvGrpSpPr/>
          <p:nvPr/>
        </p:nvGrpSpPr>
        <p:grpSpPr>
          <a:xfrm>
            <a:off x="7418060" y="912164"/>
            <a:ext cx="1394934" cy="1352994"/>
            <a:chOff x="7418060" y="912164"/>
            <a:chExt cx="1394934" cy="1352994"/>
          </a:xfrm>
        </p:grpSpPr>
        <p:pic>
          <p:nvPicPr>
            <p:cNvPr id="18" name="Picture 10" descr="https://encrypted-tbn0.gstatic.com/images?q=tbn%3AANd9GcSr7JQTJTy4KoJM7RJG74Da3vPHvo9zfdZMQsX6rs25xUc6SBB3q6w_b9YnEGTk8wEGAVXXnPA&amp;usqp=CAc">
              <a:extLst>
                <a:ext uri="{FF2B5EF4-FFF2-40B4-BE49-F238E27FC236}">
                  <a16:creationId xmlns:a16="http://schemas.microsoft.com/office/drawing/2014/main" id="{AFBABF63-F0A6-AD97-1744-903F8F9598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85717" y="1308878"/>
              <a:ext cx="956280" cy="9562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B1D045B-31D8-A2C1-8593-C42EE77399F7}"/>
                </a:ext>
              </a:extLst>
            </p:cNvPr>
            <p:cNvSpPr txBox="1"/>
            <p:nvPr/>
          </p:nvSpPr>
          <p:spPr>
            <a:xfrm>
              <a:off x="7418060" y="912164"/>
              <a:ext cx="139493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flexible and food-safe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F1CC4D7-B78E-F53F-156A-1F6C177179BF}"/>
              </a:ext>
            </a:extLst>
          </p:cNvPr>
          <p:cNvGrpSpPr/>
          <p:nvPr/>
        </p:nvGrpSpPr>
        <p:grpSpPr>
          <a:xfrm>
            <a:off x="7189637" y="2564494"/>
            <a:ext cx="1851790" cy="1335870"/>
            <a:chOff x="7189637" y="2564494"/>
            <a:chExt cx="1851790" cy="1335870"/>
          </a:xfrm>
        </p:grpSpPr>
        <p:pic>
          <p:nvPicPr>
            <p:cNvPr id="27" name="Picture 12" descr="http://www.blspolymers.com/images/img-pe-compound-ftc.png">
              <a:extLst>
                <a:ext uri="{FF2B5EF4-FFF2-40B4-BE49-F238E27FC236}">
                  <a16:creationId xmlns:a16="http://schemas.microsoft.com/office/drawing/2014/main" id="{545AEFE9-692E-A27E-A9AB-A2221B26FB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18060" y="2564494"/>
              <a:ext cx="1335870" cy="1335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8210F82-5346-4397-0393-6E0137C7EC52}"/>
                </a:ext>
              </a:extLst>
            </p:cNvPr>
            <p:cNvSpPr txBox="1"/>
            <p:nvPr/>
          </p:nvSpPr>
          <p:spPr>
            <a:xfrm>
              <a:off x="7189637" y="2579006"/>
              <a:ext cx="185179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electrical and chemical safety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AC13E3B-9338-8E2D-88AB-082DC5380B3C}"/>
              </a:ext>
            </a:extLst>
          </p:cNvPr>
          <p:cNvGrpSpPr/>
          <p:nvPr/>
        </p:nvGrpSpPr>
        <p:grpSpPr>
          <a:xfrm>
            <a:off x="5850693" y="2579692"/>
            <a:ext cx="1338943" cy="1453434"/>
            <a:chOff x="5850693" y="2579692"/>
            <a:chExt cx="1338943" cy="145343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BF7AA60F-7C4F-E53C-0941-6762B3ADDCE2}"/>
                </a:ext>
              </a:extLst>
            </p:cNvPr>
            <p:cNvSpPr txBox="1"/>
            <p:nvPr/>
          </p:nvSpPr>
          <p:spPr>
            <a:xfrm>
              <a:off x="6038356" y="2579692"/>
              <a:ext cx="80823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stretchable</a:t>
              </a:r>
            </a:p>
          </p:txBody>
        </p:sp>
        <p:pic>
          <p:nvPicPr>
            <p:cNvPr id="43" name="Picture 20" descr="https://encrypted-tbn0.gstatic.com/images?q=tbn%3AANd9GcTF64ylcdfN1roNYmYw-wDGPzWiciVxBK1uFQ1kERgJAMvEm0U9WmcNuChJmRkr4oCWG350HaGp&amp;usqp=CAc">
              <a:extLst>
                <a:ext uri="{FF2B5EF4-FFF2-40B4-BE49-F238E27FC236}">
                  <a16:creationId xmlns:a16="http://schemas.microsoft.com/office/drawing/2014/main" id="{69F68612-C268-CA64-0AE6-DEB85453F6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50693" y="2789822"/>
              <a:ext cx="1338943" cy="12433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6153C70-F0C0-C271-EE79-2743A9668BEA}"/>
              </a:ext>
            </a:extLst>
          </p:cNvPr>
          <p:cNvGrpSpPr/>
          <p:nvPr/>
        </p:nvGrpSpPr>
        <p:grpSpPr>
          <a:xfrm>
            <a:off x="5720905" y="908044"/>
            <a:ext cx="1567034" cy="1170787"/>
            <a:chOff x="5720905" y="908044"/>
            <a:chExt cx="1567034" cy="1170787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951425B-726D-F7B9-E5E8-54DB6DA75230}"/>
                </a:ext>
              </a:extLst>
            </p:cNvPr>
            <p:cNvSpPr txBox="1"/>
            <p:nvPr/>
          </p:nvSpPr>
          <p:spPr>
            <a:xfrm>
              <a:off x="6253391" y="908044"/>
              <a:ext cx="50206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ough</a:t>
              </a: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838978CC-8DEB-FCB7-C5E4-AD39A9F7AA9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clrChange>
                <a:clrFrom>
                  <a:srgbClr val="F5F5F5"/>
                </a:clrFrom>
                <a:clrTo>
                  <a:srgbClr val="F5F5F5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720905" y="1393122"/>
              <a:ext cx="1567034" cy="685709"/>
            </a:xfrm>
            <a:prstGeom prst="rect">
              <a:avLst/>
            </a:prstGeom>
          </p:spPr>
        </p:pic>
      </p:grpSp>
      <p:sp>
        <p:nvSpPr>
          <p:cNvPr id="69" name="TextBox 68">
            <a:extLst>
              <a:ext uri="{FF2B5EF4-FFF2-40B4-BE49-F238E27FC236}">
                <a16:creationId xmlns:a16="http://schemas.microsoft.com/office/drawing/2014/main" id="{3304D991-9FB5-2116-EB68-9552907C758B}"/>
              </a:ext>
            </a:extLst>
          </p:cNvPr>
          <p:cNvSpPr txBox="1"/>
          <p:nvPr/>
        </p:nvSpPr>
        <p:spPr>
          <a:xfrm>
            <a:off x="827263" y="635447"/>
            <a:ext cx="38780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+mj-lt"/>
              </a:rPr>
              <a:t>1-octene production</a:t>
            </a:r>
          </a:p>
        </p:txBody>
      </p:sp>
      <p:graphicFrame>
        <p:nvGraphicFramePr>
          <p:cNvPr id="70" name="Object 69">
            <a:extLst>
              <a:ext uri="{FF2B5EF4-FFF2-40B4-BE49-F238E27FC236}">
                <a16:creationId xmlns:a16="http://schemas.microsoft.com/office/drawing/2014/main" id="{C27746CD-49A7-3FFA-CA5F-E4CCC353587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72857820"/>
              </p:ext>
            </p:extLst>
          </p:nvPr>
        </p:nvGraphicFramePr>
        <p:xfrm>
          <a:off x="1947593" y="3906537"/>
          <a:ext cx="1911350" cy="477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9" imgW="1910558" imgH="478148" progId="ChemDraw.Document.6.0">
                  <p:embed/>
                </p:oleObj>
              </mc:Choice>
              <mc:Fallback>
                <p:oleObj name="CS ChemDraw Drawing" r:id="rId9" imgW="1910558" imgH="478148" progId="ChemDraw.Document.6.0">
                  <p:embed/>
                  <p:pic>
                    <p:nvPicPr>
                      <p:cNvPr id="70" name="Object 69">
                        <a:extLst>
                          <a:ext uri="{FF2B5EF4-FFF2-40B4-BE49-F238E27FC236}">
                            <a16:creationId xmlns:a16="http://schemas.microsoft.com/office/drawing/2014/main" id="{C27746CD-49A7-3FFA-CA5F-E4CCC3535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947593" y="3906537"/>
                        <a:ext cx="1911350" cy="477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1" name="Object 70">
            <a:extLst>
              <a:ext uri="{FF2B5EF4-FFF2-40B4-BE49-F238E27FC236}">
                <a16:creationId xmlns:a16="http://schemas.microsoft.com/office/drawing/2014/main" id="{27062B73-4587-5CDB-326A-D62B1BA4C58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93116885"/>
              </p:ext>
            </p:extLst>
          </p:nvPr>
        </p:nvGraphicFramePr>
        <p:xfrm>
          <a:off x="1947593" y="974001"/>
          <a:ext cx="2370137" cy="433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1" imgW="2370627" imgH="433703" progId="ChemDraw.Document.6.0">
                  <p:embed/>
                </p:oleObj>
              </mc:Choice>
              <mc:Fallback>
                <p:oleObj name="CS ChemDraw Drawing" r:id="rId11" imgW="2370627" imgH="433703" progId="ChemDraw.Document.6.0">
                  <p:embed/>
                  <p:pic>
                    <p:nvPicPr>
                      <p:cNvPr id="71" name="Object 70">
                        <a:extLst>
                          <a:ext uri="{FF2B5EF4-FFF2-40B4-BE49-F238E27FC236}">
                            <a16:creationId xmlns:a16="http://schemas.microsoft.com/office/drawing/2014/main" id="{27062B73-4587-5CDB-326A-D62B1BA4C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947593" y="974001"/>
                        <a:ext cx="2370137" cy="4333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2" name="Picture 71">
            <a:extLst>
              <a:ext uri="{FF2B5EF4-FFF2-40B4-BE49-F238E27FC236}">
                <a16:creationId xmlns:a16="http://schemas.microsoft.com/office/drawing/2014/main" id="{8446CBE2-0F29-D714-ECFA-1F8F20DFC0C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433092" y="1589154"/>
            <a:ext cx="2591025" cy="2292295"/>
          </a:xfrm>
          <a:prstGeom prst="rect">
            <a:avLst/>
          </a:prstGeom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78A02D8E-B28F-67A7-341D-5873C2676E06}"/>
              </a:ext>
            </a:extLst>
          </p:cNvPr>
          <p:cNvSpPr/>
          <p:nvPr/>
        </p:nvSpPr>
        <p:spPr>
          <a:xfrm>
            <a:off x="2684257" y="1912980"/>
            <a:ext cx="136631" cy="12286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6BB52E15-E381-C042-7DFD-B3AC368ED490}"/>
              </a:ext>
            </a:extLst>
          </p:cNvPr>
          <p:cNvSpPr/>
          <p:nvPr/>
        </p:nvSpPr>
        <p:spPr>
          <a:xfrm>
            <a:off x="2486354" y="3010597"/>
            <a:ext cx="136631" cy="12286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D2AFC988-D0AF-2F03-C4E6-16C5543BE578}"/>
              </a:ext>
            </a:extLst>
          </p:cNvPr>
          <p:cNvSpPr/>
          <p:nvPr/>
        </p:nvSpPr>
        <p:spPr>
          <a:xfrm rot="321098">
            <a:off x="3010868" y="3113510"/>
            <a:ext cx="953795" cy="287905"/>
          </a:xfrm>
          <a:prstGeom prst="ellipse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436B1361-1442-639A-160D-31A702ABE405}"/>
              </a:ext>
            </a:extLst>
          </p:cNvPr>
          <p:cNvSpPr txBox="1"/>
          <p:nvPr/>
        </p:nvSpPr>
        <p:spPr>
          <a:xfrm>
            <a:off x="2192853" y="4338860"/>
            <a:ext cx="125386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&lt;20 </a:t>
            </a:r>
            <a:r>
              <a:rPr lang="en-US" b="1" dirty="0" err="1">
                <a:solidFill>
                  <a:schemeClr val="tx2"/>
                </a:solidFill>
              </a:rPr>
              <a:t>wt</a:t>
            </a:r>
            <a:r>
              <a:rPr lang="en-US" b="1" dirty="0">
                <a:solidFill>
                  <a:schemeClr val="tx2"/>
                </a:solidFill>
              </a:rPr>
              <a:t>% 1-octene</a:t>
            </a:r>
          </a:p>
          <a:p>
            <a:endParaRPr lang="en-US" b="1" dirty="0">
              <a:solidFill>
                <a:schemeClr val="tx2"/>
              </a:solidFill>
            </a:endParaRP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6D553CE3-69E7-285B-2A90-E1B6F5EC600B}"/>
              </a:ext>
            </a:extLst>
          </p:cNvPr>
          <p:cNvCxnSpPr>
            <a:cxnSpLocks/>
          </p:cNvCxnSpPr>
          <p:nvPr/>
        </p:nvCxnSpPr>
        <p:spPr>
          <a:xfrm flipV="1">
            <a:off x="3448186" y="3448527"/>
            <a:ext cx="45106" cy="46387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38F1C84F-B301-67BA-F315-13CEF6233D41}"/>
              </a:ext>
            </a:extLst>
          </p:cNvPr>
          <p:cNvCxnSpPr>
            <a:cxnSpLocks/>
          </p:cNvCxnSpPr>
          <p:nvPr/>
        </p:nvCxnSpPr>
        <p:spPr>
          <a:xfrm flipH="1">
            <a:off x="2762692" y="1440979"/>
            <a:ext cx="402491" cy="485898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2891F1B1-5DE8-3365-86F9-05037BCD5FD0}"/>
              </a:ext>
            </a:extLst>
          </p:cNvPr>
          <p:cNvSpPr txBox="1"/>
          <p:nvPr/>
        </p:nvSpPr>
        <p:spPr>
          <a:xfrm>
            <a:off x="2999522" y="1558499"/>
            <a:ext cx="144462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843D"/>
                </a:solidFill>
              </a:rPr>
              <a:t>&gt;65 </a:t>
            </a:r>
            <a:r>
              <a:rPr lang="en-US" b="1" dirty="0" err="1">
                <a:solidFill>
                  <a:srgbClr val="00843D"/>
                </a:solidFill>
              </a:rPr>
              <a:t>wt</a:t>
            </a:r>
            <a:r>
              <a:rPr lang="en-US" b="1" dirty="0">
                <a:solidFill>
                  <a:srgbClr val="00843D"/>
                </a:solidFill>
              </a:rPr>
              <a:t>% 1-octene</a:t>
            </a:r>
          </a:p>
          <a:p>
            <a:r>
              <a:rPr lang="en-US" b="1" dirty="0">
                <a:solidFill>
                  <a:srgbClr val="00843D"/>
                </a:solidFill>
              </a:rPr>
              <a:t>…but </a:t>
            </a:r>
            <a:r>
              <a:rPr lang="en-US" b="1" u="sng" dirty="0">
                <a:solidFill>
                  <a:srgbClr val="00843D"/>
                </a:solidFill>
              </a:rPr>
              <a:t>reactor fouling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92B69F13-8183-D88B-267A-664E6BB00D87}"/>
              </a:ext>
            </a:extLst>
          </p:cNvPr>
          <p:cNvSpPr txBox="1"/>
          <p:nvPr/>
        </p:nvSpPr>
        <p:spPr>
          <a:xfrm>
            <a:off x="3395705" y="3608540"/>
            <a:ext cx="140650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undesired products</a:t>
            </a:r>
          </a:p>
        </p:txBody>
      </p:sp>
      <p:pic>
        <p:nvPicPr>
          <p:cNvPr id="81" name="Picture 80">
            <a:extLst>
              <a:ext uri="{FF2B5EF4-FFF2-40B4-BE49-F238E27FC236}">
                <a16:creationId xmlns:a16="http://schemas.microsoft.com/office/drawing/2014/main" id="{6643711C-39A9-0165-1EBD-1BE532008916}"/>
              </a:ext>
            </a:extLst>
          </p:cNvPr>
          <p:cNvPicPr>
            <a:picLocks noChangeAspect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433092" y="1589154"/>
            <a:ext cx="2591025" cy="2292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2556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50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/>
      <p:bldP spid="75" grpId="0" animBg="1"/>
      <p:bldP spid="76" grpId="0"/>
      <p:bldP spid="79" grpId="0"/>
      <p:bldP spid="8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1B0498-78D6-41E9-9A60-E2B5702DA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thylene Tetramerization Challenges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1E60B4E2-8D1D-46EE-9837-7CCAF211979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208735" y="654183"/>
          <a:ext cx="2726531" cy="14966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" imgW="2797940" imgH="1528087" progId="ChemDraw.Document.6.0">
                  <p:embed/>
                </p:oleObj>
              </mc:Choice>
              <mc:Fallback>
                <p:oleObj name="CS ChemDraw Drawing" r:id="rId3" imgW="2797940" imgH="1528087" progId="ChemDraw.Document.6.0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1E60B4E2-8D1D-46EE-9837-7CCAF21197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208735" y="654183"/>
                        <a:ext cx="2726531" cy="14966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>
            <a:extLst>
              <a:ext uri="{FF2B5EF4-FFF2-40B4-BE49-F238E27FC236}">
                <a16:creationId xmlns:a16="http://schemas.microsoft.com/office/drawing/2014/main" id="{3F8DBD77-FCF4-4D00-B05D-0229DD471202}"/>
              </a:ext>
            </a:extLst>
          </p:cNvPr>
          <p:cNvSpPr txBox="1">
            <a:spLocks/>
          </p:cNvSpPr>
          <p:nvPr/>
        </p:nvSpPr>
        <p:spPr>
          <a:xfrm>
            <a:off x="434970" y="3119281"/>
            <a:ext cx="6456889" cy="1789481"/>
          </a:xfrm>
          <a:prstGeom prst="rect">
            <a:avLst/>
          </a:prstGeom>
        </p:spPr>
        <p:txBody>
          <a:bodyPr vert="horz" lIns="0" tIns="34272" rIns="0" bIns="34272" rtlCol="0" anchor="t">
            <a:noAutofit/>
          </a:bodyPr>
          <a:lstStyle>
            <a:lvl1pPr algn="l" defTabSz="45696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800" dirty="0"/>
              <a:t>Strategy</a:t>
            </a:r>
          </a:p>
          <a:p>
            <a:r>
              <a:rPr lang="en-US" sz="1500" dirty="0">
                <a:solidFill>
                  <a:schemeClr val="accent6"/>
                </a:solidFill>
              </a:rPr>
              <a:t>Molecular design of novel catalysts that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6"/>
                </a:solidFill>
              </a:rPr>
              <a:t>Increase activ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6"/>
                </a:solidFill>
              </a:rPr>
              <a:t>Increase 1-octene selectiv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6"/>
                </a:solidFill>
              </a:rPr>
              <a:t>Decrease PE </a:t>
            </a:r>
            <a:r>
              <a:rPr lang="en-US" sz="1500" dirty="0" err="1">
                <a:solidFill>
                  <a:schemeClr val="accent6"/>
                </a:solidFill>
              </a:rPr>
              <a:t>wt</a:t>
            </a:r>
            <a:r>
              <a:rPr lang="en-US" sz="1500" dirty="0">
                <a:solidFill>
                  <a:schemeClr val="accent6"/>
                </a:solidFill>
              </a:rPr>
              <a:t>%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4B4C36-E496-4D5C-A40D-2D68EBB1179E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2D1D669-4B19-46DA-3684-2C36996BE12E}"/>
              </a:ext>
            </a:extLst>
          </p:cNvPr>
          <p:cNvGrpSpPr/>
          <p:nvPr/>
        </p:nvGrpSpPr>
        <p:grpSpPr>
          <a:xfrm>
            <a:off x="5870376" y="785832"/>
            <a:ext cx="3046953" cy="3275219"/>
            <a:chOff x="3269851" y="-1047480"/>
            <a:chExt cx="3046953" cy="3275219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C1713A0-508D-D0FB-9823-ADCD4A8F92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862" b="1603"/>
            <a:stretch/>
          </p:blipFill>
          <p:spPr>
            <a:xfrm>
              <a:off x="4943607" y="-582664"/>
              <a:ext cx="933983" cy="1409470"/>
            </a:xfrm>
            <a:prstGeom prst="rect">
              <a:avLst/>
            </a:prstGeom>
            <a:ln w="19050">
              <a:solidFill>
                <a:srgbClr val="FF0000"/>
              </a:solidFill>
            </a:ln>
          </p:spPr>
        </p:pic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CE73AF9-6D93-B0C4-C610-0C05C01189C3}"/>
                </a:ext>
              </a:extLst>
            </p:cNvPr>
            <p:cNvSpPr/>
            <p:nvPr/>
          </p:nvSpPr>
          <p:spPr>
            <a:xfrm>
              <a:off x="3269851" y="852017"/>
              <a:ext cx="753867" cy="231341"/>
            </a:xfrm>
            <a:prstGeom prst="ellipse">
              <a:avLst/>
            </a:prstGeom>
            <a:noFill/>
            <a:ln w="19050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D898603-5103-9113-6728-78806C3F5201}"/>
                </a:ext>
              </a:extLst>
            </p:cNvPr>
            <p:cNvSpPr txBox="1"/>
            <p:nvPr/>
          </p:nvSpPr>
          <p:spPr>
            <a:xfrm>
              <a:off x="4582486" y="-1047480"/>
              <a:ext cx="165622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>
                  <a:solidFill>
                    <a:srgbClr val="FF0000"/>
                  </a:solidFill>
                </a:rPr>
                <a:t>reactor unit fouling</a:t>
              </a: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D592D334-46FA-4471-D497-BBA64C4C588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504394" y="983845"/>
              <a:ext cx="1812410" cy="1243894"/>
            </a:xfrm>
            <a:prstGeom prst="rect">
              <a:avLst/>
            </a:prstGeom>
            <a:ln w="28575">
              <a:solidFill>
                <a:srgbClr val="FF0000"/>
              </a:solidFill>
            </a:ln>
          </p:spPr>
        </p:pic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C88B010E-DCFC-293A-D7A9-881DC1B9D18C}"/>
              </a:ext>
            </a:extLst>
          </p:cNvPr>
          <p:cNvSpPr txBox="1"/>
          <p:nvPr/>
        </p:nvSpPr>
        <p:spPr>
          <a:xfrm>
            <a:off x="1779052" y="2891392"/>
            <a:ext cx="45720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Bollman et al, </a:t>
            </a:r>
            <a:r>
              <a:rPr lang="en-US" sz="800" i="1" dirty="0">
                <a:latin typeface="Arial" panose="020B0604020202020204" pitchFamily="34" charset="0"/>
                <a:cs typeface="Arial" panose="020B0604020202020204" pitchFamily="34" charset="0"/>
              </a:rPr>
              <a:t>J. Am. Chem. Soc.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2004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800" i="1" dirty="0">
                <a:latin typeface="Arial" panose="020B0604020202020204" pitchFamily="34" charset="0"/>
                <a:cs typeface="Arial" panose="020B0604020202020204" pitchFamily="34" charset="0"/>
              </a:rPr>
              <a:t>126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, 14712.</a:t>
            </a:r>
            <a:endParaRPr lang="en-US" sz="800" dirty="0"/>
          </a:p>
        </p:txBody>
      </p:sp>
      <p:graphicFrame>
        <p:nvGraphicFramePr>
          <p:cNvPr id="23" name="Object 22">
            <a:extLst>
              <a:ext uri="{FF2B5EF4-FFF2-40B4-BE49-F238E27FC236}">
                <a16:creationId xmlns:a16="http://schemas.microsoft.com/office/drawing/2014/main" id="{AFADBDA1-EA8B-3A52-F4AC-4065F74FB42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10271344"/>
              </p:ext>
            </p:extLst>
          </p:nvPr>
        </p:nvGraphicFramePr>
        <p:xfrm>
          <a:off x="1844210" y="2316642"/>
          <a:ext cx="4714875" cy="581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7" imgW="4714718" imgH="581018" progId="Excel.Sheet.12">
                  <p:embed/>
                </p:oleObj>
              </mc:Choice>
              <mc:Fallback>
                <p:oleObj name="Worksheet" r:id="rId7" imgW="4714718" imgH="581018" progId="Excel.Sheet.12">
                  <p:embed/>
                  <p:pic>
                    <p:nvPicPr>
                      <p:cNvPr id="23" name="Object 22">
                        <a:extLst>
                          <a:ext uri="{FF2B5EF4-FFF2-40B4-BE49-F238E27FC236}">
                            <a16:creationId xmlns:a16="http://schemas.microsoft.com/office/drawing/2014/main" id="{AFADBDA1-EA8B-3A52-F4AC-4065F74FB4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844210" y="2316642"/>
                        <a:ext cx="4714875" cy="581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89140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uiExpand="1" build="p" bldLvl="4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chemeClr val="accent5">
                  <a:lumMod val="75000"/>
                </a:schemeClr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4815" y="362237"/>
            <a:ext cx="8264215" cy="618166"/>
          </a:xfrm>
        </p:spPr>
        <p:txBody>
          <a:bodyPr/>
          <a:lstStyle/>
          <a:p>
            <a:r>
              <a:rPr lang="en-US" dirty="0"/>
              <a:t>Accelerating Catalyst Discovery with Digital Chemistry</a:t>
            </a:r>
          </a:p>
        </p:txBody>
      </p: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ABEB0011-AFBA-4C79-83F4-687590F9DFED}"/>
              </a:ext>
            </a:extLst>
          </p:cNvPr>
          <p:cNvGrpSpPr/>
          <p:nvPr/>
        </p:nvGrpSpPr>
        <p:grpSpPr>
          <a:xfrm>
            <a:off x="1436065" y="2632596"/>
            <a:ext cx="353986" cy="315139"/>
            <a:chOff x="12727684" y="3839973"/>
            <a:chExt cx="471981" cy="420185"/>
          </a:xfrm>
        </p:grpSpPr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82D96D13-E1BA-4126-808A-6989FB2FBE1D}"/>
                </a:ext>
              </a:extLst>
            </p:cNvPr>
            <p:cNvSpPr/>
            <p:nvPr/>
          </p:nvSpPr>
          <p:spPr>
            <a:xfrm>
              <a:off x="12923142" y="418303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4EB0A9C8-27BD-4CF5-9FCA-BBAB398C07B7}"/>
                </a:ext>
              </a:extLst>
            </p:cNvPr>
            <p:cNvSpPr/>
            <p:nvPr/>
          </p:nvSpPr>
          <p:spPr>
            <a:xfrm>
              <a:off x="12883200" y="411597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EC58C9E7-F133-48A1-A3C3-A505E41E0017}"/>
                </a:ext>
              </a:extLst>
            </p:cNvPr>
            <p:cNvSpPr/>
            <p:nvPr/>
          </p:nvSpPr>
          <p:spPr>
            <a:xfrm>
              <a:off x="12960321" y="411597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8958851A-19CD-4FDC-B1C9-A0A69BF460D0}"/>
                </a:ext>
              </a:extLst>
            </p:cNvPr>
            <p:cNvSpPr/>
            <p:nvPr/>
          </p:nvSpPr>
          <p:spPr>
            <a:xfrm>
              <a:off x="12921760" y="404890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746E4E4C-B568-4C42-B7CD-45F6B865E26C}"/>
                </a:ext>
              </a:extLst>
            </p:cNvPr>
            <p:cNvSpPr/>
            <p:nvPr/>
          </p:nvSpPr>
          <p:spPr>
            <a:xfrm>
              <a:off x="13003976" y="404890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61224918-1D4B-4661-81E1-AC433B5F1EC1}"/>
                </a:ext>
              </a:extLst>
            </p:cNvPr>
            <p:cNvSpPr/>
            <p:nvPr/>
          </p:nvSpPr>
          <p:spPr>
            <a:xfrm>
              <a:off x="12842092" y="404857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02B4D1A3-8CF8-4366-8E7A-A98FC32A3CAC}"/>
                </a:ext>
              </a:extLst>
            </p:cNvPr>
            <p:cNvSpPr/>
            <p:nvPr/>
          </p:nvSpPr>
          <p:spPr>
            <a:xfrm>
              <a:off x="12808734" y="397443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48D1FCE1-F79F-442D-81A5-B3D1095DF44D}"/>
                </a:ext>
              </a:extLst>
            </p:cNvPr>
            <p:cNvSpPr/>
            <p:nvPr/>
          </p:nvSpPr>
          <p:spPr>
            <a:xfrm>
              <a:off x="12768792" y="390737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902B9D42-BB7C-4EFC-B2B3-6EC067BDCB02}"/>
                </a:ext>
              </a:extLst>
            </p:cNvPr>
            <p:cNvSpPr/>
            <p:nvPr/>
          </p:nvSpPr>
          <p:spPr>
            <a:xfrm>
              <a:off x="12845913" y="390737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11864889-F2CD-4289-873A-6BB8B339E143}"/>
                </a:ext>
              </a:extLst>
            </p:cNvPr>
            <p:cNvSpPr/>
            <p:nvPr/>
          </p:nvSpPr>
          <p:spPr>
            <a:xfrm>
              <a:off x="12807352" y="384031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51" name="Oval 150">
              <a:extLst>
                <a:ext uri="{FF2B5EF4-FFF2-40B4-BE49-F238E27FC236}">
                  <a16:creationId xmlns:a16="http://schemas.microsoft.com/office/drawing/2014/main" id="{72192878-BCD5-48C9-8505-A2BCE2A0A4FD}"/>
                </a:ext>
              </a:extLst>
            </p:cNvPr>
            <p:cNvSpPr/>
            <p:nvPr/>
          </p:nvSpPr>
          <p:spPr>
            <a:xfrm>
              <a:off x="12883532" y="384030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245F057D-D9F3-421D-95A6-2B3481AE445E}"/>
                </a:ext>
              </a:extLst>
            </p:cNvPr>
            <p:cNvSpPr/>
            <p:nvPr/>
          </p:nvSpPr>
          <p:spPr>
            <a:xfrm>
              <a:off x="12727684" y="383997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3F3B3348-3C79-4064-86D6-C0DECD0321E6}"/>
                </a:ext>
              </a:extLst>
            </p:cNvPr>
            <p:cNvSpPr/>
            <p:nvPr/>
          </p:nvSpPr>
          <p:spPr>
            <a:xfrm>
              <a:off x="13041710" y="397646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536B1B70-0CCC-42A1-ACF5-47102B7500DD}"/>
                </a:ext>
              </a:extLst>
            </p:cNvPr>
            <p:cNvSpPr/>
            <p:nvPr/>
          </p:nvSpPr>
          <p:spPr>
            <a:xfrm>
              <a:off x="13001768" y="390940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55" name="Oval 154">
              <a:extLst>
                <a:ext uri="{FF2B5EF4-FFF2-40B4-BE49-F238E27FC236}">
                  <a16:creationId xmlns:a16="http://schemas.microsoft.com/office/drawing/2014/main" id="{DEEB3D43-EDEF-48E9-82FA-4DFA7056BEC6}"/>
                </a:ext>
              </a:extLst>
            </p:cNvPr>
            <p:cNvSpPr/>
            <p:nvPr/>
          </p:nvSpPr>
          <p:spPr>
            <a:xfrm>
              <a:off x="13078889" y="390940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94E0765B-BC54-4065-ADD3-99526DF0B66B}"/>
                </a:ext>
              </a:extLst>
            </p:cNvPr>
            <p:cNvSpPr/>
            <p:nvPr/>
          </p:nvSpPr>
          <p:spPr>
            <a:xfrm>
              <a:off x="13040328" y="384233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5C927E27-F262-4F4C-B78B-55A763FDDCC8}"/>
                </a:ext>
              </a:extLst>
            </p:cNvPr>
            <p:cNvSpPr/>
            <p:nvPr/>
          </p:nvSpPr>
          <p:spPr>
            <a:xfrm>
              <a:off x="13122544" y="384233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4E2AD00A-03EE-4EB3-8015-5DB04F944AA3}"/>
                </a:ext>
              </a:extLst>
            </p:cNvPr>
            <p:cNvSpPr/>
            <p:nvPr/>
          </p:nvSpPr>
          <p:spPr>
            <a:xfrm>
              <a:off x="12960660" y="384200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8A1D0843-2E5E-4EA4-A70B-B43C576B7295}"/>
                </a:ext>
              </a:extLst>
            </p:cNvPr>
            <p:cNvSpPr/>
            <p:nvPr/>
          </p:nvSpPr>
          <p:spPr>
            <a:xfrm>
              <a:off x="12884708" y="398168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5D1BBB76-A5EC-49DD-AB44-376CD15B2B44}"/>
                </a:ext>
              </a:extLst>
            </p:cNvPr>
            <p:cNvSpPr/>
            <p:nvPr/>
          </p:nvSpPr>
          <p:spPr>
            <a:xfrm>
              <a:off x="12961829" y="398168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BC1E8AE4-9E22-49FE-8953-F837F6DF93E4}"/>
                </a:ext>
              </a:extLst>
            </p:cNvPr>
            <p:cNvSpPr/>
            <p:nvPr/>
          </p:nvSpPr>
          <p:spPr>
            <a:xfrm>
              <a:off x="12923268" y="391461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grpSp>
        <p:nvGrpSpPr>
          <p:cNvPr id="318" name="Group 317">
            <a:extLst>
              <a:ext uri="{FF2B5EF4-FFF2-40B4-BE49-F238E27FC236}">
                <a16:creationId xmlns:a16="http://schemas.microsoft.com/office/drawing/2014/main" id="{11F8EA02-D1F2-4986-A5F8-D777065D83A6}"/>
              </a:ext>
            </a:extLst>
          </p:cNvPr>
          <p:cNvGrpSpPr/>
          <p:nvPr/>
        </p:nvGrpSpPr>
        <p:grpSpPr>
          <a:xfrm>
            <a:off x="1547942" y="2206203"/>
            <a:ext cx="115682" cy="57841"/>
            <a:chOff x="6590537" y="1510850"/>
            <a:chExt cx="154242" cy="77121"/>
          </a:xfrm>
        </p:grpSpPr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980358E9-9C3B-415E-9DFE-F7DE304067A4}"/>
                </a:ext>
              </a:extLst>
            </p:cNvPr>
            <p:cNvSpPr/>
            <p:nvPr/>
          </p:nvSpPr>
          <p:spPr>
            <a:xfrm flipV="1">
              <a:off x="6590537" y="151085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87" name="Oval 186">
              <a:extLst>
                <a:ext uri="{FF2B5EF4-FFF2-40B4-BE49-F238E27FC236}">
                  <a16:creationId xmlns:a16="http://schemas.microsoft.com/office/drawing/2014/main" id="{902C7E07-8CC7-4A76-BA58-90A0F1F0A0F8}"/>
                </a:ext>
              </a:extLst>
            </p:cNvPr>
            <p:cNvSpPr/>
            <p:nvPr/>
          </p:nvSpPr>
          <p:spPr>
            <a:xfrm flipV="1">
              <a:off x="6667658" y="151085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graphicFrame>
        <p:nvGraphicFramePr>
          <p:cNvPr id="225" name="Object 224">
            <a:extLst>
              <a:ext uri="{FF2B5EF4-FFF2-40B4-BE49-F238E27FC236}">
                <a16:creationId xmlns:a16="http://schemas.microsoft.com/office/drawing/2014/main" id="{B0ED5574-5D19-4F0D-9C3A-936E95724C6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71235" y="2504224"/>
          <a:ext cx="1733550" cy="1009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7" imgW="2311504" imgH="1345415" progId="ChemDraw.Document.6.0">
                  <p:embed/>
                </p:oleObj>
              </mc:Choice>
              <mc:Fallback>
                <p:oleObj name="CS ChemDraw Drawing" r:id="rId7" imgW="2311504" imgH="1345415" progId="ChemDraw.Document.6.0">
                  <p:embed/>
                  <p:pic>
                    <p:nvPicPr>
                      <p:cNvPr id="225" name="Object 224">
                        <a:extLst>
                          <a:ext uri="{FF2B5EF4-FFF2-40B4-BE49-F238E27FC236}">
                            <a16:creationId xmlns:a16="http://schemas.microsoft.com/office/drawing/2014/main" id="{B0ED5574-5D19-4F0D-9C3A-936E95724C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71235" y="2504224"/>
                        <a:ext cx="1733550" cy="1009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6" name="Object 225">
            <a:extLst>
              <a:ext uri="{FF2B5EF4-FFF2-40B4-BE49-F238E27FC236}">
                <a16:creationId xmlns:a16="http://schemas.microsoft.com/office/drawing/2014/main" id="{8E23A46F-B1AB-4AAE-8AC8-D7116EA858A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62913" y="3552127"/>
          <a:ext cx="1641872" cy="10679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9" imgW="2189584" imgH="1424594" progId="ChemDraw.Document.6.0">
                  <p:embed/>
                </p:oleObj>
              </mc:Choice>
              <mc:Fallback>
                <p:oleObj name="CS ChemDraw Drawing" r:id="rId9" imgW="2189584" imgH="1424594" progId="ChemDraw.Document.6.0">
                  <p:embed/>
                  <p:pic>
                    <p:nvPicPr>
                      <p:cNvPr id="226" name="Object 225">
                        <a:extLst>
                          <a:ext uri="{FF2B5EF4-FFF2-40B4-BE49-F238E27FC236}">
                            <a16:creationId xmlns:a16="http://schemas.microsoft.com/office/drawing/2014/main" id="{8E23A46F-B1AB-4AAE-8AC8-D7116EA858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62913" y="3552127"/>
                        <a:ext cx="1641872" cy="10679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Oval 53">
            <a:extLst>
              <a:ext uri="{FF2B5EF4-FFF2-40B4-BE49-F238E27FC236}">
                <a16:creationId xmlns:a16="http://schemas.microsoft.com/office/drawing/2014/main" id="{648694EF-5FED-44BA-9A19-12177207FC04}"/>
              </a:ext>
            </a:extLst>
          </p:cNvPr>
          <p:cNvSpPr/>
          <p:nvPr/>
        </p:nvSpPr>
        <p:spPr>
          <a:xfrm flipV="1">
            <a:off x="1551365" y="1490083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4D3C2A36-7013-4944-907E-EFCDEA056686}"/>
              </a:ext>
            </a:extLst>
          </p:cNvPr>
          <p:cNvSpPr/>
          <p:nvPr/>
        </p:nvSpPr>
        <p:spPr>
          <a:xfrm flipV="1">
            <a:off x="1521408" y="1540381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4F0F1331-998F-49E9-98CD-EF27D88F38FD}"/>
              </a:ext>
            </a:extLst>
          </p:cNvPr>
          <p:cNvSpPr/>
          <p:nvPr/>
        </p:nvSpPr>
        <p:spPr>
          <a:xfrm flipV="1">
            <a:off x="1579249" y="1540381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94315FB1-84D9-4832-ADE0-5255F67AE23B}"/>
              </a:ext>
            </a:extLst>
          </p:cNvPr>
          <p:cNvSpPr/>
          <p:nvPr/>
        </p:nvSpPr>
        <p:spPr>
          <a:xfrm flipV="1">
            <a:off x="1550328" y="1590679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3C778C0B-B30E-4966-AAC9-BFA7853FD6F4}"/>
              </a:ext>
            </a:extLst>
          </p:cNvPr>
          <p:cNvSpPr/>
          <p:nvPr/>
        </p:nvSpPr>
        <p:spPr>
          <a:xfrm flipV="1">
            <a:off x="1611990" y="1590680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ED5BE91E-77B5-421D-907C-9528E69A986B}"/>
              </a:ext>
            </a:extLst>
          </p:cNvPr>
          <p:cNvSpPr/>
          <p:nvPr/>
        </p:nvSpPr>
        <p:spPr>
          <a:xfrm flipV="1">
            <a:off x="1490577" y="1590932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7A2C820A-6A72-4746-B72D-7563B8F31FDE}"/>
              </a:ext>
            </a:extLst>
          </p:cNvPr>
          <p:cNvSpPr/>
          <p:nvPr/>
        </p:nvSpPr>
        <p:spPr>
          <a:xfrm flipV="1">
            <a:off x="1465559" y="1646532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0A03FA2F-3155-4D25-AC15-86DB341146F4}"/>
              </a:ext>
            </a:extLst>
          </p:cNvPr>
          <p:cNvSpPr/>
          <p:nvPr/>
        </p:nvSpPr>
        <p:spPr>
          <a:xfrm flipV="1">
            <a:off x="1435602" y="1696830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A6936D71-B991-48CC-851F-F52E0AA47535}"/>
              </a:ext>
            </a:extLst>
          </p:cNvPr>
          <p:cNvSpPr/>
          <p:nvPr/>
        </p:nvSpPr>
        <p:spPr>
          <a:xfrm flipV="1">
            <a:off x="1493443" y="1696830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C5D44571-E90A-454F-BC9F-D4766472DF6C}"/>
              </a:ext>
            </a:extLst>
          </p:cNvPr>
          <p:cNvSpPr/>
          <p:nvPr/>
        </p:nvSpPr>
        <p:spPr>
          <a:xfrm flipV="1">
            <a:off x="1464522" y="1747128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1904E0F2-5C5E-4A29-A108-7787E94C1859}"/>
              </a:ext>
            </a:extLst>
          </p:cNvPr>
          <p:cNvSpPr/>
          <p:nvPr/>
        </p:nvSpPr>
        <p:spPr>
          <a:xfrm flipV="1">
            <a:off x="1521657" y="1747129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5473F9E4-824D-4293-98BB-664524635466}"/>
              </a:ext>
            </a:extLst>
          </p:cNvPr>
          <p:cNvSpPr/>
          <p:nvPr/>
        </p:nvSpPr>
        <p:spPr>
          <a:xfrm flipV="1">
            <a:off x="1404771" y="1747381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1B366F98-4847-4AC9-B531-54E414973AE0}"/>
              </a:ext>
            </a:extLst>
          </p:cNvPr>
          <p:cNvSpPr/>
          <p:nvPr/>
        </p:nvSpPr>
        <p:spPr>
          <a:xfrm flipV="1">
            <a:off x="1640291" y="1645011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749D4725-7CD8-44A7-A463-A63995DA7702}"/>
              </a:ext>
            </a:extLst>
          </p:cNvPr>
          <p:cNvSpPr/>
          <p:nvPr/>
        </p:nvSpPr>
        <p:spPr>
          <a:xfrm flipV="1">
            <a:off x="1610334" y="1695309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D58693C9-B387-4216-A2B7-3F71A265082D}"/>
              </a:ext>
            </a:extLst>
          </p:cNvPr>
          <p:cNvSpPr/>
          <p:nvPr/>
        </p:nvSpPr>
        <p:spPr>
          <a:xfrm flipV="1">
            <a:off x="1668175" y="1695309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577E017A-A7D9-447C-8B9D-F002DC83CC4F}"/>
              </a:ext>
            </a:extLst>
          </p:cNvPr>
          <p:cNvSpPr/>
          <p:nvPr/>
        </p:nvSpPr>
        <p:spPr>
          <a:xfrm flipV="1">
            <a:off x="1639254" y="1745607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FF9F4EBC-F60E-4A4B-96C7-4BCC869794A2}"/>
              </a:ext>
            </a:extLst>
          </p:cNvPr>
          <p:cNvSpPr/>
          <p:nvPr/>
        </p:nvSpPr>
        <p:spPr>
          <a:xfrm flipV="1">
            <a:off x="1700916" y="1745607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808991A1-7805-4B57-A0CC-695CA2E85468}"/>
              </a:ext>
            </a:extLst>
          </p:cNvPr>
          <p:cNvSpPr/>
          <p:nvPr/>
        </p:nvSpPr>
        <p:spPr>
          <a:xfrm flipV="1">
            <a:off x="1579503" y="1745859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753C313C-1768-488E-AA16-977AE39497C1}"/>
              </a:ext>
            </a:extLst>
          </p:cNvPr>
          <p:cNvSpPr/>
          <p:nvPr/>
        </p:nvSpPr>
        <p:spPr>
          <a:xfrm flipV="1">
            <a:off x="1522539" y="1641100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9F4BF8EC-BC30-4BC7-984D-935B711E2F57}"/>
              </a:ext>
            </a:extLst>
          </p:cNvPr>
          <p:cNvSpPr/>
          <p:nvPr/>
        </p:nvSpPr>
        <p:spPr>
          <a:xfrm flipV="1">
            <a:off x="1580380" y="1641100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80DAF99D-7DFB-4333-A4C6-75BB011D4B89}"/>
              </a:ext>
            </a:extLst>
          </p:cNvPr>
          <p:cNvSpPr/>
          <p:nvPr/>
        </p:nvSpPr>
        <p:spPr>
          <a:xfrm flipV="1">
            <a:off x="1551459" y="1691398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F9599C13-756C-41F1-9D18-6414737AB0E2}"/>
              </a:ext>
            </a:extLst>
          </p:cNvPr>
          <p:cNvSpPr/>
          <p:nvPr/>
        </p:nvSpPr>
        <p:spPr>
          <a:xfrm>
            <a:off x="1385071" y="1693792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A107908-C05A-4FF9-BAD0-711A8AD82CD0}"/>
              </a:ext>
            </a:extLst>
          </p:cNvPr>
          <p:cNvSpPr/>
          <p:nvPr/>
        </p:nvSpPr>
        <p:spPr>
          <a:xfrm>
            <a:off x="1355115" y="1643494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1537A09B-4E05-41CF-923A-197F79D9B190}"/>
              </a:ext>
            </a:extLst>
          </p:cNvPr>
          <p:cNvSpPr/>
          <p:nvPr/>
        </p:nvSpPr>
        <p:spPr>
          <a:xfrm>
            <a:off x="1412955" y="1643494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BBF215DA-961A-4D36-A6F0-C146B0D74740}"/>
              </a:ext>
            </a:extLst>
          </p:cNvPr>
          <p:cNvSpPr/>
          <p:nvPr/>
        </p:nvSpPr>
        <p:spPr>
          <a:xfrm>
            <a:off x="1384035" y="1593196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565406AD-36D1-40EB-812B-92480EAC7B09}"/>
              </a:ext>
            </a:extLst>
          </p:cNvPr>
          <p:cNvSpPr/>
          <p:nvPr/>
        </p:nvSpPr>
        <p:spPr>
          <a:xfrm>
            <a:off x="1445697" y="1593195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F0B44E6D-0F83-4676-B8E1-4F77D1309862}"/>
              </a:ext>
            </a:extLst>
          </p:cNvPr>
          <p:cNvSpPr/>
          <p:nvPr/>
        </p:nvSpPr>
        <p:spPr>
          <a:xfrm>
            <a:off x="1324284" y="1592943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9C3B3FBA-E819-46AA-9E4A-36D555E8C0A2}"/>
              </a:ext>
            </a:extLst>
          </p:cNvPr>
          <p:cNvSpPr/>
          <p:nvPr/>
        </p:nvSpPr>
        <p:spPr>
          <a:xfrm>
            <a:off x="1299265" y="1537343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DE5B905C-DAC1-4B3E-B1FD-89266EF25D84}"/>
              </a:ext>
            </a:extLst>
          </p:cNvPr>
          <p:cNvSpPr/>
          <p:nvPr/>
        </p:nvSpPr>
        <p:spPr>
          <a:xfrm>
            <a:off x="1269309" y="1487045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4C0E1532-F498-4FBE-A27F-47836884444E}"/>
              </a:ext>
            </a:extLst>
          </p:cNvPr>
          <p:cNvSpPr/>
          <p:nvPr/>
        </p:nvSpPr>
        <p:spPr>
          <a:xfrm>
            <a:off x="1327149" y="1487045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B1D804DD-612D-4254-866C-907802966D41}"/>
              </a:ext>
            </a:extLst>
          </p:cNvPr>
          <p:cNvSpPr/>
          <p:nvPr/>
        </p:nvSpPr>
        <p:spPr>
          <a:xfrm>
            <a:off x="1473997" y="1538865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D1FF1B84-6D42-4048-B0C1-29C9A896C25A}"/>
              </a:ext>
            </a:extLst>
          </p:cNvPr>
          <p:cNvSpPr/>
          <p:nvPr/>
        </p:nvSpPr>
        <p:spPr>
          <a:xfrm>
            <a:off x="1444041" y="1488567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D6BE888D-AC93-4E10-BE9A-66F1BD5D148B}"/>
              </a:ext>
            </a:extLst>
          </p:cNvPr>
          <p:cNvSpPr/>
          <p:nvPr/>
        </p:nvSpPr>
        <p:spPr>
          <a:xfrm>
            <a:off x="1501881" y="1488567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A5E053B6-FABD-4EC2-9A64-30C673C0DB3D}"/>
              </a:ext>
            </a:extLst>
          </p:cNvPr>
          <p:cNvSpPr/>
          <p:nvPr/>
        </p:nvSpPr>
        <p:spPr>
          <a:xfrm>
            <a:off x="1356246" y="1542775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31C66830-71FE-40DB-B05E-54625C7E517E}"/>
              </a:ext>
            </a:extLst>
          </p:cNvPr>
          <p:cNvSpPr/>
          <p:nvPr/>
        </p:nvSpPr>
        <p:spPr>
          <a:xfrm>
            <a:off x="1414086" y="1542775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958F5AE0-E7D6-44F0-B32D-3D4F25965609}"/>
              </a:ext>
            </a:extLst>
          </p:cNvPr>
          <p:cNvSpPr/>
          <p:nvPr/>
        </p:nvSpPr>
        <p:spPr>
          <a:xfrm>
            <a:off x="1385166" y="1492477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915497D4-B6F4-4452-98ED-DE30867ADD8D}"/>
              </a:ext>
            </a:extLst>
          </p:cNvPr>
          <p:cNvGrpSpPr/>
          <p:nvPr/>
        </p:nvGrpSpPr>
        <p:grpSpPr>
          <a:xfrm>
            <a:off x="1606061" y="1484721"/>
            <a:ext cx="353986" cy="315139"/>
            <a:chOff x="12727684" y="3839973"/>
            <a:chExt cx="471981" cy="420185"/>
          </a:xfrm>
        </p:grpSpPr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B598B8AB-C5CE-4BFF-8396-F06FE4D78650}"/>
                </a:ext>
              </a:extLst>
            </p:cNvPr>
            <p:cNvSpPr/>
            <p:nvPr/>
          </p:nvSpPr>
          <p:spPr>
            <a:xfrm>
              <a:off x="12923142" y="418303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A1AFC1BD-AEE9-44C4-9A4C-1AB854D75BC3}"/>
                </a:ext>
              </a:extLst>
            </p:cNvPr>
            <p:cNvSpPr/>
            <p:nvPr/>
          </p:nvSpPr>
          <p:spPr>
            <a:xfrm>
              <a:off x="12883200" y="411597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B3F81052-2034-4636-BB72-86F0D2376357}"/>
                </a:ext>
              </a:extLst>
            </p:cNvPr>
            <p:cNvSpPr/>
            <p:nvPr/>
          </p:nvSpPr>
          <p:spPr>
            <a:xfrm>
              <a:off x="12960321" y="411597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E782BD7C-00DC-4176-B52A-F69E14C06C34}"/>
                </a:ext>
              </a:extLst>
            </p:cNvPr>
            <p:cNvSpPr/>
            <p:nvPr/>
          </p:nvSpPr>
          <p:spPr>
            <a:xfrm>
              <a:off x="12921760" y="404890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4C9C5498-86E1-419F-87B5-A7B8C8B71024}"/>
                </a:ext>
              </a:extLst>
            </p:cNvPr>
            <p:cNvSpPr/>
            <p:nvPr/>
          </p:nvSpPr>
          <p:spPr>
            <a:xfrm>
              <a:off x="13003976" y="404890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C81D6B67-EF2D-4354-9496-1352B540E33E}"/>
                </a:ext>
              </a:extLst>
            </p:cNvPr>
            <p:cNvSpPr/>
            <p:nvPr/>
          </p:nvSpPr>
          <p:spPr>
            <a:xfrm>
              <a:off x="12842092" y="404857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7A58F422-8DDC-4BC1-BB13-09815F0331A8}"/>
                </a:ext>
              </a:extLst>
            </p:cNvPr>
            <p:cNvSpPr/>
            <p:nvPr/>
          </p:nvSpPr>
          <p:spPr>
            <a:xfrm>
              <a:off x="12808734" y="397443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B6B0A839-E626-4783-AAEA-65399FAB2E8A}"/>
                </a:ext>
              </a:extLst>
            </p:cNvPr>
            <p:cNvSpPr/>
            <p:nvPr/>
          </p:nvSpPr>
          <p:spPr>
            <a:xfrm>
              <a:off x="12768792" y="390737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EFF4EAFD-5D65-4CB1-9ECC-2A9C911321C2}"/>
                </a:ext>
              </a:extLst>
            </p:cNvPr>
            <p:cNvSpPr/>
            <p:nvPr/>
          </p:nvSpPr>
          <p:spPr>
            <a:xfrm>
              <a:off x="12845913" y="390737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71B6B4D4-AF53-499F-96E0-4BA145ED7812}"/>
                </a:ext>
              </a:extLst>
            </p:cNvPr>
            <p:cNvSpPr/>
            <p:nvPr/>
          </p:nvSpPr>
          <p:spPr>
            <a:xfrm>
              <a:off x="12807352" y="384031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0870FF15-1DDA-4B2C-AAEA-02512ED07859}"/>
                </a:ext>
              </a:extLst>
            </p:cNvPr>
            <p:cNvSpPr/>
            <p:nvPr/>
          </p:nvSpPr>
          <p:spPr>
            <a:xfrm>
              <a:off x="12883532" y="384030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AB43404D-6453-4061-8EE7-5BFEB4F63B25}"/>
                </a:ext>
              </a:extLst>
            </p:cNvPr>
            <p:cNvSpPr/>
            <p:nvPr/>
          </p:nvSpPr>
          <p:spPr>
            <a:xfrm>
              <a:off x="12727684" y="383997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BCC38FC0-9772-49EC-A5CB-5688528C6BFB}"/>
                </a:ext>
              </a:extLst>
            </p:cNvPr>
            <p:cNvSpPr/>
            <p:nvPr/>
          </p:nvSpPr>
          <p:spPr>
            <a:xfrm>
              <a:off x="13041710" y="397646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62EE82B3-FBDD-4BA7-9B2A-E28EACAC4822}"/>
                </a:ext>
              </a:extLst>
            </p:cNvPr>
            <p:cNvSpPr/>
            <p:nvPr/>
          </p:nvSpPr>
          <p:spPr>
            <a:xfrm>
              <a:off x="13001768" y="390940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9C7A0A5D-3571-46E6-8AF9-E0F822C0589A}"/>
                </a:ext>
              </a:extLst>
            </p:cNvPr>
            <p:cNvSpPr/>
            <p:nvPr/>
          </p:nvSpPr>
          <p:spPr>
            <a:xfrm>
              <a:off x="13078889" y="390940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79D0E36A-3730-4033-A639-8FB75D1B2176}"/>
                </a:ext>
              </a:extLst>
            </p:cNvPr>
            <p:cNvSpPr/>
            <p:nvPr/>
          </p:nvSpPr>
          <p:spPr>
            <a:xfrm>
              <a:off x="13040328" y="384233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CEF6AC59-5902-4752-9094-C7D89E9BB62C}"/>
                </a:ext>
              </a:extLst>
            </p:cNvPr>
            <p:cNvSpPr/>
            <p:nvPr/>
          </p:nvSpPr>
          <p:spPr>
            <a:xfrm>
              <a:off x="13122544" y="384233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61DBFBD3-072A-40A2-B608-DA46322AB19A}"/>
                </a:ext>
              </a:extLst>
            </p:cNvPr>
            <p:cNvSpPr/>
            <p:nvPr/>
          </p:nvSpPr>
          <p:spPr>
            <a:xfrm>
              <a:off x="12960660" y="384200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AFD27D5D-241A-484E-A23F-7E2D2793DC24}"/>
                </a:ext>
              </a:extLst>
            </p:cNvPr>
            <p:cNvSpPr/>
            <p:nvPr/>
          </p:nvSpPr>
          <p:spPr>
            <a:xfrm>
              <a:off x="12884708" y="398168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73BB1E01-A476-4EBC-A5A5-97582E308AC3}"/>
                </a:ext>
              </a:extLst>
            </p:cNvPr>
            <p:cNvSpPr/>
            <p:nvPr/>
          </p:nvSpPr>
          <p:spPr>
            <a:xfrm>
              <a:off x="12961829" y="398168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2F77718C-8C9B-4335-AC2B-32DA327CCED0}"/>
                </a:ext>
              </a:extLst>
            </p:cNvPr>
            <p:cNvSpPr/>
            <p:nvPr/>
          </p:nvSpPr>
          <p:spPr>
            <a:xfrm>
              <a:off x="12923268" y="391461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sp>
        <p:nvSpPr>
          <p:cNvPr id="167" name="Oval 166">
            <a:extLst>
              <a:ext uri="{FF2B5EF4-FFF2-40B4-BE49-F238E27FC236}">
                <a16:creationId xmlns:a16="http://schemas.microsoft.com/office/drawing/2014/main" id="{07FAC456-AF17-4238-A837-6D18F5F8A1EB}"/>
              </a:ext>
            </a:extLst>
          </p:cNvPr>
          <p:cNvSpPr/>
          <p:nvPr/>
        </p:nvSpPr>
        <p:spPr>
          <a:xfrm>
            <a:off x="1578276" y="1951781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76058D53-8059-4CC9-99CC-07539AB6B4DD}"/>
              </a:ext>
            </a:extLst>
          </p:cNvPr>
          <p:cNvSpPr/>
          <p:nvPr/>
        </p:nvSpPr>
        <p:spPr>
          <a:xfrm>
            <a:off x="1639938" y="1951780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895B21CF-3FC0-4226-AA3B-D4371890EF53}"/>
              </a:ext>
            </a:extLst>
          </p:cNvPr>
          <p:cNvSpPr/>
          <p:nvPr/>
        </p:nvSpPr>
        <p:spPr>
          <a:xfrm>
            <a:off x="1518525" y="1951528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82AD7F55-90FD-467A-B96F-53BC80224BD6}"/>
              </a:ext>
            </a:extLst>
          </p:cNvPr>
          <p:cNvSpPr/>
          <p:nvPr/>
        </p:nvSpPr>
        <p:spPr>
          <a:xfrm>
            <a:off x="1493507" y="1895928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71" name="Oval 170">
            <a:extLst>
              <a:ext uri="{FF2B5EF4-FFF2-40B4-BE49-F238E27FC236}">
                <a16:creationId xmlns:a16="http://schemas.microsoft.com/office/drawing/2014/main" id="{D28F1FF9-9693-4C79-B99E-76136B551195}"/>
              </a:ext>
            </a:extLst>
          </p:cNvPr>
          <p:cNvSpPr/>
          <p:nvPr/>
        </p:nvSpPr>
        <p:spPr>
          <a:xfrm>
            <a:off x="1463550" y="1845630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72" name="Oval 171">
            <a:extLst>
              <a:ext uri="{FF2B5EF4-FFF2-40B4-BE49-F238E27FC236}">
                <a16:creationId xmlns:a16="http://schemas.microsoft.com/office/drawing/2014/main" id="{EF215C56-D1ED-4D56-8F9E-23C22073B01C}"/>
              </a:ext>
            </a:extLst>
          </p:cNvPr>
          <p:cNvSpPr/>
          <p:nvPr/>
        </p:nvSpPr>
        <p:spPr>
          <a:xfrm>
            <a:off x="1521391" y="1845630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73" name="Oval 172">
            <a:extLst>
              <a:ext uri="{FF2B5EF4-FFF2-40B4-BE49-F238E27FC236}">
                <a16:creationId xmlns:a16="http://schemas.microsoft.com/office/drawing/2014/main" id="{B9D94701-64A8-4F04-A598-D9BDBA6D3D9B}"/>
              </a:ext>
            </a:extLst>
          </p:cNvPr>
          <p:cNvSpPr/>
          <p:nvPr/>
        </p:nvSpPr>
        <p:spPr>
          <a:xfrm>
            <a:off x="1492470" y="1795332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621B6FDF-26D3-45A2-BE7A-74B4772992AD}"/>
              </a:ext>
            </a:extLst>
          </p:cNvPr>
          <p:cNvSpPr/>
          <p:nvPr/>
        </p:nvSpPr>
        <p:spPr>
          <a:xfrm>
            <a:off x="1549605" y="1795331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7D074A75-A2B7-46CC-8BAE-88DB282C8D98}"/>
              </a:ext>
            </a:extLst>
          </p:cNvPr>
          <p:cNvSpPr/>
          <p:nvPr/>
        </p:nvSpPr>
        <p:spPr>
          <a:xfrm>
            <a:off x="1432719" y="1795079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76" name="Oval 175">
            <a:extLst>
              <a:ext uri="{FF2B5EF4-FFF2-40B4-BE49-F238E27FC236}">
                <a16:creationId xmlns:a16="http://schemas.microsoft.com/office/drawing/2014/main" id="{62C41E9A-E218-46C4-A6ED-6E4DE9A59DD3}"/>
              </a:ext>
            </a:extLst>
          </p:cNvPr>
          <p:cNvSpPr/>
          <p:nvPr/>
        </p:nvSpPr>
        <p:spPr>
          <a:xfrm>
            <a:off x="1668239" y="1897449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111206B3-D502-4835-93E3-1DC07AEEBB37}"/>
              </a:ext>
            </a:extLst>
          </p:cNvPr>
          <p:cNvSpPr/>
          <p:nvPr/>
        </p:nvSpPr>
        <p:spPr>
          <a:xfrm>
            <a:off x="1638282" y="1847151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5C613AF6-0F39-4D34-9ACE-7052F5C6BEA7}"/>
              </a:ext>
            </a:extLst>
          </p:cNvPr>
          <p:cNvSpPr/>
          <p:nvPr/>
        </p:nvSpPr>
        <p:spPr>
          <a:xfrm>
            <a:off x="1696123" y="1847151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79" name="Oval 178">
            <a:extLst>
              <a:ext uri="{FF2B5EF4-FFF2-40B4-BE49-F238E27FC236}">
                <a16:creationId xmlns:a16="http://schemas.microsoft.com/office/drawing/2014/main" id="{60D3C001-7F36-4414-B0D7-BDE116420D3F}"/>
              </a:ext>
            </a:extLst>
          </p:cNvPr>
          <p:cNvSpPr/>
          <p:nvPr/>
        </p:nvSpPr>
        <p:spPr>
          <a:xfrm>
            <a:off x="1667202" y="1796853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80" name="Oval 179">
            <a:extLst>
              <a:ext uri="{FF2B5EF4-FFF2-40B4-BE49-F238E27FC236}">
                <a16:creationId xmlns:a16="http://schemas.microsoft.com/office/drawing/2014/main" id="{94977E72-4E92-4A73-8E58-9B40E2E6840E}"/>
              </a:ext>
            </a:extLst>
          </p:cNvPr>
          <p:cNvSpPr/>
          <p:nvPr/>
        </p:nvSpPr>
        <p:spPr>
          <a:xfrm>
            <a:off x="1728864" y="1796853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81" name="Oval 180">
            <a:extLst>
              <a:ext uri="{FF2B5EF4-FFF2-40B4-BE49-F238E27FC236}">
                <a16:creationId xmlns:a16="http://schemas.microsoft.com/office/drawing/2014/main" id="{E6C27982-EEC6-43DE-9DFC-F364198E29FB}"/>
              </a:ext>
            </a:extLst>
          </p:cNvPr>
          <p:cNvSpPr/>
          <p:nvPr/>
        </p:nvSpPr>
        <p:spPr>
          <a:xfrm>
            <a:off x="1607451" y="1796601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82" name="Oval 181">
            <a:extLst>
              <a:ext uri="{FF2B5EF4-FFF2-40B4-BE49-F238E27FC236}">
                <a16:creationId xmlns:a16="http://schemas.microsoft.com/office/drawing/2014/main" id="{B69400AB-593B-4906-A46A-1868E2A53386}"/>
              </a:ext>
            </a:extLst>
          </p:cNvPr>
          <p:cNvSpPr/>
          <p:nvPr/>
        </p:nvSpPr>
        <p:spPr>
          <a:xfrm>
            <a:off x="1550487" y="1901360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83" name="Oval 182">
            <a:extLst>
              <a:ext uri="{FF2B5EF4-FFF2-40B4-BE49-F238E27FC236}">
                <a16:creationId xmlns:a16="http://schemas.microsoft.com/office/drawing/2014/main" id="{A81C697F-0284-4347-8E0C-9BA4B906E117}"/>
              </a:ext>
            </a:extLst>
          </p:cNvPr>
          <p:cNvSpPr/>
          <p:nvPr/>
        </p:nvSpPr>
        <p:spPr>
          <a:xfrm>
            <a:off x="1608328" y="1901360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84" name="Oval 183">
            <a:extLst>
              <a:ext uri="{FF2B5EF4-FFF2-40B4-BE49-F238E27FC236}">
                <a16:creationId xmlns:a16="http://schemas.microsoft.com/office/drawing/2014/main" id="{EC353F57-F898-44A3-A1AA-5E705D209876}"/>
              </a:ext>
            </a:extLst>
          </p:cNvPr>
          <p:cNvSpPr/>
          <p:nvPr/>
        </p:nvSpPr>
        <p:spPr>
          <a:xfrm>
            <a:off x="1579407" y="1851062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5F2FE781-32D2-4030-9B66-A9EA681003AB}"/>
              </a:ext>
            </a:extLst>
          </p:cNvPr>
          <p:cNvGrpSpPr/>
          <p:nvPr/>
        </p:nvGrpSpPr>
        <p:grpSpPr>
          <a:xfrm>
            <a:off x="1518829" y="1999746"/>
            <a:ext cx="179254" cy="264589"/>
            <a:chOff x="6701829" y="1826535"/>
            <a:chExt cx="239005" cy="352785"/>
          </a:xfrm>
        </p:grpSpPr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302D2C2D-7149-40F1-A17D-FD5CD170B109}"/>
                </a:ext>
              </a:extLst>
            </p:cNvPr>
            <p:cNvSpPr/>
            <p:nvPr/>
          </p:nvSpPr>
          <p:spPr>
            <a:xfrm flipV="1">
              <a:off x="6742937" y="1826535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73FB5BF7-D2DE-450A-9952-E2B614C0770B}"/>
                </a:ext>
              </a:extLst>
            </p:cNvPr>
            <p:cNvSpPr/>
            <p:nvPr/>
          </p:nvSpPr>
          <p:spPr>
            <a:xfrm flipV="1">
              <a:off x="6820058" y="1826535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E77D21FC-A64B-4F86-852B-3CD898612C5C}"/>
                </a:ext>
              </a:extLst>
            </p:cNvPr>
            <p:cNvSpPr/>
            <p:nvPr/>
          </p:nvSpPr>
          <p:spPr>
            <a:xfrm flipV="1">
              <a:off x="6781497" y="189359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6EA32094-9246-495A-BEC8-F90052C0118A}"/>
                </a:ext>
              </a:extLst>
            </p:cNvPr>
            <p:cNvSpPr/>
            <p:nvPr/>
          </p:nvSpPr>
          <p:spPr>
            <a:xfrm flipV="1">
              <a:off x="6863713" y="189360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70ED9842-A752-4F68-BBAB-C039D606BC06}"/>
                </a:ext>
              </a:extLst>
            </p:cNvPr>
            <p:cNvSpPr/>
            <p:nvPr/>
          </p:nvSpPr>
          <p:spPr>
            <a:xfrm flipV="1">
              <a:off x="6701829" y="1893936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10" name="Oval 209">
              <a:extLst>
                <a:ext uri="{FF2B5EF4-FFF2-40B4-BE49-F238E27FC236}">
                  <a16:creationId xmlns:a16="http://schemas.microsoft.com/office/drawing/2014/main" id="{DDB460C0-E6A3-470E-BACB-D80B38446041}"/>
                </a:ext>
              </a:extLst>
            </p:cNvPr>
            <p:cNvSpPr/>
            <p:nvPr/>
          </p:nvSpPr>
          <p:spPr>
            <a:xfrm flipV="1">
              <a:off x="6705650" y="203513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11" name="Oval 210">
              <a:extLst>
                <a:ext uri="{FF2B5EF4-FFF2-40B4-BE49-F238E27FC236}">
                  <a16:creationId xmlns:a16="http://schemas.microsoft.com/office/drawing/2014/main" id="{A10A2385-9A39-4D35-8E8F-6D420EC797C6}"/>
                </a:ext>
              </a:extLst>
            </p:cNvPr>
            <p:cNvSpPr/>
            <p:nvPr/>
          </p:nvSpPr>
          <p:spPr>
            <a:xfrm flipV="1">
              <a:off x="6743269" y="210219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12" name="Oval 211">
              <a:extLst>
                <a:ext uri="{FF2B5EF4-FFF2-40B4-BE49-F238E27FC236}">
                  <a16:creationId xmlns:a16="http://schemas.microsoft.com/office/drawing/2014/main" id="{B7AA3B2D-5475-4B55-B857-32AD6D84251B}"/>
                </a:ext>
              </a:extLst>
            </p:cNvPr>
            <p:cNvSpPr/>
            <p:nvPr/>
          </p:nvSpPr>
          <p:spPr>
            <a:xfrm flipV="1">
              <a:off x="6861505" y="2033105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13" name="Oval 212">
              <a:extLst>
                <a:ext uri="{FF2B5EF4-FFF2-40B4-BE49-F238E27FC236}">
                  <a16:creationId xmlns:a16="http://schemas.microsoft.com/office/drawing/2014/main" id="{36FBD113-03C4-4268-A7D0-F99D438E18A8}"/>
                </a:ext>
              </a:extLst>
            </p:cNvPr>
            <p:cNvSpPr/>
            <p:nvPr/>
          </p:nvSpPr>
          <p:spPr>
            <a:xfrm flipV="1">
              <a:off x="6820397" y="2100506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14" name="Oval 213">
              <a:extLst>
                <a:ext uri="{FF2B5EF4-FFF2-40B4-BE49-F238E27FC236}">
                  <a16:creationId xmlns:a16="http://schemas.microsoft.com/office/drawing/2014/main" id="{35EF82F0-DD1C-4F1A-93FF-ED8D640EA8D5}"/>
                </a:ext>
              </a:extLst>
            </p:cNvPr>
            <p:cNvSpPr/>
            <p:nvPr/>
          </p:nvSpPr>
          <p:spPr>
            <a:xfrm flipV="1">
              <a:off x="6744445" y="196082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0AE53C3A-C1B9-4810-8F5F-B05261828480}"/>
                </a:ext>
              </a:extLst>
            </p:cNvPr>
            <p:cNvSpPr/>
            <p:nvPr/>
          </p:nvSpPr>
          <p:spPr>
            <a:xfrm flipV="1">
              <a:off x="6821566" y="196082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CB76F176-C863-458E-A43B-30A23891BEAB}"/>
                </a:ext>
              </a:extLst>
            </p:cNvPr>
            <p:cNvSpPr/>
            <p:nvPr/>
          </p:nvSpPr>
          <p:spPr>
            <a:xfrm flipV="1">
              <a:off x="6783005" y="202789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sp>
        <p:nvSpPr>
          <p:cNvPr id="319" name="Oval 318">
            <a:extLst>
              <a:ext uri="{FF2B5EF4-FFF2-40B4-BE49-F238E27FC236}">
                <a16:creationId xmlns:a16="http://schemas.microsoft.com/office/drawing/2014/main" id="{EE06542A-D258-4003-ACCE-BCA85DC45418}"/>
              </a:ext>
            </a:extLst>
          </p:cNvPr>
          <p:cNvSpPr/>
          <p:nvPr/>
        </p:nvSpPr>
        <p:spPr>
          <a:xfrm flipV="1">
            <a:off x="1585833" y="2896770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343" name="Group 342">
            <a:extLst>
              <a:ext uri="{FF2B5EF4-FFF2-40B4-BE49-F238E27FC236}">
                <a16:creationId xmlns:a16="http://schemas.microsoft.com/office/drawing/2014/main" id="{4C8C6F70-28C4-49B2-A8B7-3D1ABACE2C6F}"/>
              </a:ext>
            </a:extLst>
          </p:cNvPr>
          <p:cNvGrpSpPr/>
          <p:nvPr/>
        </p:nvGrpSpPr>
        <p:grpSpPr>
          <a:xfrm>
            <a:off x="1443208" y="3763698"/>
            <a:ext cx="353986" cy="315139"/>
            <a:chOff x="12727684" y="3839973"/>
            <a:chExt cx="471981" cy="420185"/>
          </a:xfrm>
        </p:grpSpPr>
        <p:sp>
          <p:nvSpPr>
            <p:cNvPr id="344" name="Oval 343">
              <a:extLst>
                <a:ext uri="{FF2B5EF4-FFF2-40B4-BE49-F238E27FC236}">
                  <a16:creationId xmlns:a16="http://schemas.microsoft.com/office/drawing/2014/main" id="{251A18E4-2324-4914-B185-C1C2432D55E3}"/>
                </a:ext>
              </a:extLst>
            </p:cNvPr>
            <p:cNvSpPr/>
            <p:nvPr/>
          </p:nvSpPr>
          <p:spPr>
            <a:xfrm>
              <a:off x="12923142" y="418303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45" name="Oval 344">
              <a:extLst>
                <a:ext uri="{FF2B5EF4-FFF2-40B4-BE49-F238E27FC236}">
                  <a16:creationId xmlns:a16="http://schemas.microsoft.com/office/drawing/2014/main" id="{34317889-BD21-4702-859C-1D8400AF72B3}"/>
                </a:ext>
              </a:extLst>
            </p:cNvPr>
            <p:cNvSpPr/>
            <p:nvPr/>
          </p:nvSpPr>
          <p:spPr>
            <a:xfrm>
              <a:off x="12883200" y="411597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46" name="Oval 345">
              <a:extLst>
                <a:ext uri="{FF2B5EF4-FFF2-40B4-BE49-F238E27FC236}">
                  <a16:creationId xmlns:a16="http://schemas.microsoft.com/office/drawing/2014/main" id="{2390312E-FD85-479B-BCE8-5C9E37792AC4}"/>
                </a:ext>
              </a:extLst>
            </p:cNvPr>
            <p:cNvSpPr/>
            <p:nvPr/>
          </p:nvSpPr>
          <p:spPr>
            <a:xfrm>
              <a:off x="12960321" y="411597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47" name="Oval 346">
              <a:extLst>
                <a:ext uri="{FF2B5EF4-FFF2-40B4-BE49-F238E27FC236}">
                  <a16:creationId xmlns:a16="http://schemas.microsoft.com/office/drawing/2014/main" id="{708A3841-41B2-4811-9E66-69D9D15C3026}"/>
                </a:ext>
              </a:extLst>
            </p:cNvPr>
            <p:cNvSpPr/>
            <p:nvPr/>
          </p:nvSpPr>
          <p:spPr>
            <a:xfrm>
              <a:off x="12921760" y="404890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48" name="Oval 347">
              <a:extLst>
                <a:ext uri="{FF2B5EF4-FFF2-40B4-BE49-F238E27FC236}">
                  <a16:creationId xmlns:a16="http://schemas.microsoft.com/office/drawing/2014/main" id="{D01DB30F-99B3-4097-835A-07709B256180}"/>
                </a:ext>
              </a:extLst>
            </p:cNvPr>
            <p:cNvSpPr/>
            <p:nvPr/>
          </p:nvSpPr>
          <p:spPr>
            <a:xfrm>
              <a:off x="13003976" y="404890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49" name="Oval 348">
              <a:extLst>
                <a:ext uri="{FF2B5EF4-FFF2-40B4-BE49-F238E27FC236}">
                  <a16:creationId xmlns:a16="http://schemas.microsoft.com/office/drawing/2014/main" id="{7FEA0793-D91F-417A-86DE-1D4F25B32030}"/>
                </a:ext>
              </a:extLst>
            </p:cNvPr>
            <p:cNvSpPr/>
            <p:nvPr/>
          </p:nvSpPr>
          <p:spPr>
            <a:xfrm>
              <a:off x="12842092" y="404857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50" name="Oval 349">
              <a:extLst>
                <a:ext uri="{FF2B5EF4-FFF2-40B4-BE49-F238E27FC236}">
                  <a16:creationId xmlns:a16="http://schemas.microsoft.com/office/drawing/2014/main" id="{9E66FE59-177C-4D1D-B87E-7E27B111BB46}"/>
                </a:ext>
              </a:extLst>
            </p:cNvPr>
            <p:cNvSpPr/>
            <p:nvPr/>
          </p:nvSpPr>
          <p:spPr>
            <a:xfrm>
              <a:off x="12808734" y="397443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51" name="Oval 350">
              <a:extLst>
                <a:ext uri="{FF2B5EF4-FFF2-40B4-BE49-F238E27FC236}">
                  <a16:creationId xmlns:a16="http://schemas.microsoft.com/office/drawing/2014/main" id="{5B8CC931-CDB6-4749-9044-A60B7329586A}"/>
                </a:ext>
              </a:extLst>
            </p:cNvPr>
            <p:cNvSpPr/>
            <p:nvPr/>
          </p:nvSpPr>
          <p:spPr>
            <a:xfrm>
              <a:off x="12768792" y="390737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52" name="Oval 351">
              <a:extLst>
                <a:ext uri="{FF2B5EF4-FFF2-40B4-BE49-F238E27FC236}">
                  <a16:creationId xmlns:a16="http://schemas.microsoft.com/office/drawing/2014/main" id="{73013EBE-14CE-48F5-AFAA-A0CC5D02513C}"/>
                </a:ext>
              </a:extLst>
            </p:cNvPr>
            <p:cNvSpPr/>
            <p:nvPr/>
          </p:nvSpPr>
          <p:spPr>
            <a:xfrm>
              <a:off x="12845913" y="390737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53" name="Oval 352">
              <a:extLst>
                <a:ext uri="{FF2B5EF4-FFF2-40B4-BE49-F238E27FC236}">
                  <a16:creationId xmlns:a16="http://schemas.microsoft.com/office/drawing/2014/main" id="{9EA374E3-4664-44D3-8D77-A79196997E54}"/>
                </a:ext>
              </a:extLst>
            </p:cNvPr>
            <p:cNvSpPr/>
            <p:nvPr/>
          </p:nvSpPr>
          <p:spPr>
            <a:xfrm>
              <a:off x="12807352" y="384031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77167D01-45F3-41EC-9CE5-292192B559CB}"/>
                </a:ext>
              </a:extLst>
            </p:cNvPr>
            <p:cNvSpPr/>
            <p:nvPr/>
          </p:nvSpPr>
          <p:spPr>
            <a:xfrm>
              <a:off x="12883532" y="384030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55" name="Oval 354">
              <a:extLst>
                <a:ext uri="{FF2B5EF4-FFF2-40B4-BE49-F238E27FC236}">
                  <a16:creationId xmlns:a16="http://schemas.microsoft.com/office/drawing/2014/main" id="{4F25EFF6-7F1F-47FF-A246-06D62D267B9B}"/>
                </a:ext>
              </a:extLst>
            </p:cNvPr>
            <p:cNvSpPr/>
            <p:nvPr/>
          </p:nvSpPr>
          <p:spPr>
            <a:xfrm>
              <a:off x="12727684" y="383997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56" name="Oval 355">
              <a:extLst>
                <a:ext uri="{FF2B5EF4-FFF2-40B4-BE49-F238E27FC236}">
                  <a16:creationId xmlns:a16="http://schemas.microsoft.com/office/drawing/2014/main" id="{942D6F72-4CE2-4D45-B05D-9B40D36C4CC3}"/>
                </a:ext>
              </a:extLst>
            </p:cNvPr>
            <p:cNvSpPr/>
            <p:nvPr/>
          </p:nvSpPr>
          <p:spPr>
            <a:xfrm>
              <a:off x="13041710" y="397646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57" name="Oval 356">
              <a:extLst>
                <a:ext uri="{FF2B5EF4-FFF2-40B4-BE49-F238E27FC236}">
                  <a16:creationId xmlns:a16="http://schemas.microsoft.com/office/drawing/2014/main" id="{5B01191B-D8C4-49A3-B5A8-FD72C176E457}"/>
                </a:ext>
              </a:extLst>
            </p:cNvPr>
            <p:cNvSpPr/>
            <p:nvPr/>
          </p:nvSpPr>
          <p:spPr>
            <a:xfrm>
              <a:off x="13001768" y="390940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58" name="Oval 357">
              <a:extLst>
                <a:ext uri="{FF2B5EF4-FFF2-40B4-BE49-F238E27FC236}">
                  <a16:creationId xmlns:a16="http://schemas.microsoft.com/office/drawing/2014/main" id="{6ADEA5DE-3A77-45D3-BF87-F0F7A3FE534C}"/>
                </a:ext>
              </a:extLst>
            </p:cNvPr>
            <p:cNvSpPr/>
            <p:nvPr/>
          </p:nvSpPr>
          <p:spPr>
            <a:xfrm>
              <a:off x="13078889" y="390940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59" name="Oval 358">
              <a:extLst>
                <a:ext uri="{FF2B5EF4-FFF2-40B4-BE49-F238E27FC236}">
                  <a16:creationId xmlns:a16="http://schemas.microsoft.com/office/drawing/2014/main" id="{5310DEAA-B85C-4A88-9FBC-966CCC1599A6}"/>
                </a:ext>
              </a:extLst>
            </p:cNvPr>
            <p:cNvSpPr/>
            <p:nvPr/>
          </p:nvSpPr>
          <p:spPr>
            <a:xfrm>
              <a:off x="13040328" y="384233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60" name="Oval 359">
              <a:extLst>
                <a:ext uri="{FF2B5EF4-FFF2-40B4-BE49-F238E27FC236}">
                  <a16:creationId xmlns:a16="http://schemas.microsoft.com/office/drawing/2014/main" id="{5C490B0B-B3A2-4846-9389-B15DB358E19F}"/>
                </a:ext>
              </a:extLst>
            </p:cNvPr>
            <p:cNvSpPr/>
            <p:nvPr/>
          </p:nvSpPr>
          <p:spPr>
            <a:xfrm>
              <a:off x="13122544" y="384233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61" name="Oval 360">
              <a:extLst>
                <a:ext uri="{FF2B5EF4-FFF2-40B4-BE49-F238E27FC236}">
                  <a16:creationId xmlns:a16="http://schemas.microsoft.com/office/drawing/2014/main" id="{A67BCB83-EE0D-46CC-BD17-4D3064AB5879}"/>
                </a:ext>
              </a:extLst>
            </p:cNvPr>
            <p:cNvSpPr/>
            <p:nvPr/>
          </p:nvSpPr>
          <p:spPr>
            <a:xfrm>
              <a:off x="12960660" y="384200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62" name="Oval 361">
              <a:extLst>
                <a:ext uri="{FF2B5EF4-FFF2-40B4-BE49-F238E27FC236}">
                  <a16:creationId xmlns:a16="http://schemas.microsoft.com/office/drawing/2014/main" id="{2428FD93-DD92-442E-8527-9E55D976AC50}"/>
                </a:ext>
              </a:extLst>
            </p:cNvPr>
            <p:cNvSpPr/>
            <p:nvPr/>
          </p:nvSpPr>
          <p:spPr>
            <a:xfrm>
              <a:off x="12884708" y="398168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63" name="Oval 362">
              <a:extLst>
                <a:ext uri="{FF2B5EF4-FFF2-40B4-BE49-F238E27FC236}">
                  <a16:creationId xmlns:a16="http://schemas.microsoft.com/office/drawing/2014/main" id="{20DC381B-0BFB-4393-B7ED-DA0237591A61}"/>
                </a:ext>
              </a:extLst>
            </p:cNvPr>
            <p:cNvSpPr/>
            <p:nvPr/>
          </p:nvSpPr>
          <p:spPr>
            <a:xfrm>
              <a:off x="12961829" y="398168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64" name="Oval 363">
              <a:extLst>
                <a:ext uri="{FF2B5EF4-FFF2-40B4-BE49-F238E27FC236}">
                  <a16:creationId xmlns:a16="http://schemas.microsoft.com/office/drawing/2014/main" id="{D4F33B71-B3BF-4453-A455-3DE1C34E9686}"/>
                </a:ext>
              </a:extLst>
            </p:cNvPr>
            <p:cNvSpPr/>
            <p:nvPr/>
          </p:nvSpPr>
          <p:spPr>
            <a:xfrm>
              <a:off x="12923268" y="391461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sp>
        <p:nvSpPr>
          <p:cNvPr id="365" name="Oval 364">
            <a:extLst>
              <a:ext uri="{FF2B5EF4-FFF2-40B4-BE49-F238E27FC236}">
                <a16:creationId xmlns:a16="http://schemas.microsoft.com/office/drawing/2014/main" id="{24DBC38D-A36D-483D-92C6-44B30CA80CFD}"/>
              </a:ext>
            </a:extLst>
          </p:cNvPr>
          <p:cNvSpPr/>
          <p:nvPr/>
        </p:nvSpPr>
        <p:spPr>
          <a:xfrm flipV="1">
            <a:off x="1592976" y="4027872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aphicFrame>
        <p:nvGraphicFramePr>
          <p:cNvPr id="367" name="Object 366">
            <a:extLst>
              <a:ext uri="{FF2B5EF4-FFF2-40B4-BE49-F238E27FC236}">
                <a16:creationId xmlns:a16="http://schemas.microsoft.com/office/drawing/2014/main" id="{9B8AEFE6-F9EF-42B2-B810-A2E2784AA47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41505" y="1279992"/>
          <a:ext cx="1971675" cy="10572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1" imgW="2628122" imgH="1409631" progId="ChemDraw.Document.6.0">
                  <p:embed/>
                </p:oleObj>
              </mc:Choice>
              <mc:Fallback>
                <p:oleObj name="CS ChemDraw Drawing" r:id="rId11" imgW="2628122" imgH="1409631" progId="ChemDraw.Document.6.0">
                  <p:embed/>
                  <p:pic>
                    <p:nvPicPr>
                      <p:cNvPr id="367" name="Object 366">
                        <a:extLst>
                          <a:ext uri="{FF2B5EF4-FFF2-40B4-BE49-F238E27FC236}">
                            <a16:creationId xmlns:a16="http://schemas.microsoft.com/office/drawing/2014/main" id="{9B8AEFE6-F9EF-42B2-B810-A2E2784AA4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1505" y="1279992"/>
                        <a:ext cx="1971675" cy="10572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68" name="Group 367">
            <a:extLst>
              <a:ext uri="{FF2B5EF4-FFF2-40B4-BE49-F238E27FC236}">
                <a16:creationId xmlns:a16="http://schemas.microsoft.com/office/drawing/2014/main" id="{8AF33303-DB67-41D2-8933-C93EAEAC7619}"/>
              </a:ext>
            </a:extLst>
          </p:cNvPr>
          <p:cNvGrpSpPr/>
          <p:nvPr/>
        </p:nvGrpSpPr>
        <p:grpSpPr>
          <a:xfrm>
            <a:off x="8087415" y="2743206"/>
            <a:ext cx="353986" cy="315139"/>
            <a:chOff x="12727684" y="3839973"/>
            <a:chExt cx="471981" cy="420185"/>
          </a:xfrm>
          <a:solidFill>
            <a:schemeClr val="tx2"/>
          </a:solidFill>
        </p:grpSpPr>
        <p:sp>
          <p:nvSpPr>
            <p:cNvPr id="369" name="Oval 368">
              <a:extLst>
                <a:ext uri="{FF2B5EF4-FFF2-40B4-BE49-F238E27FC236}">
                  <a16:creationId xmlns:a16="http://schemas.microsoft.com/office/drawing/2014/main" id="{9C6C8ECB-8707-429E-A25B-4B53FAAF4F29}"/>
                </a:ext>
              </a:extLst>
            </p:cNvPr>
            <p:cNvSpPr/>
            <p:nvPr/>
          </p:nvSpPr>
          <p:spPr>
            <a:xfrm>
              <a:off x="12923142" y="4183037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70" name="Oval 369">
              <a:extLst>
                <a:ext uri="{FF2B5EF4-FFF2-40B4-BE49-F238E27FC236}">
                  <a16:creationId xmlns:a16="http://schemas.microsoft.com/office/drawing/2014/main" id="{96800DFC-A8D7-4C24-8FE0-075426BACC33}"/>
                </a:ext>
              </a:extLst>
            </p:cNvPr>
            <p:cNvSpPr/>
            <p:nvPr/>
          </p:nvSpPr>
          <p:spPr>
            <a:xfrm>
              <a:off x="12883200" y="4115973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71" name="Oval 370">
              <a:extLst>
                <a:ext uri="{FF2B5EF4-FFF2-40B4-BE49-F238E27FC236}">
                  <a16:creationId xmlns:a16="http://schemas.microsoft.com/office/drawing/2014/main" id="{4046988C-1F3D-4A9B-A4D5-1C9E9A3C7BFC}"/>
                </a:ext>
              </a:extLst>
            </p:cNvPr>
            <p:cNvSpPr/>
            <p:nvPr/>
          </p:nvSpPr>
          <p:spPr>
            <a:xfrm>
              <a:off x="12960321" y="4115973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72" name="Oval 371">
              <a:extLst>
                <a:ext uri="{FF2B5EF4-FFF2-40B4-BE49-F238E27FC236}">
                  <a16:creationId xmlns:a16="http://schemas.microsoft.com/office/drawing/2014/main" id="{F82D8A12-D8A7-4F2E-A64B-BD1A640011EF}"/>
                </a:ext>
              </a:extLst>
            </p:cNvPr>
            <p:cNvSpPr/>
            <p:nvPr/>
          </p:nvSpPr>
          <p:spPr>
            <a:xfrm>
              <a:off x="12921760" y="4048909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73" name="Oval 372">
              <a:extLst>
                <a:ext uri="{FF2B5EF4-FFF2-40B4-BE49-F238E27FC236}">
                  <a16:creationId xmlns:a16="http://schemas.microsoft.com/office/drawing/2014/main" id="{38A6C35F-9587-4078-A4C7-82400B940014}"/>
                </a:ext>
              </a:extLst>
            </p:cNvPr>
            <p:cNvSpPr/>
            <p:nvPr/>
          </p:nvSpPr>
          <p:spPr>
            <a:xfrm>
              <a:off x="13003976" y="4048908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74" name="Oval 373">
              <a:extLst>
                <a:ext uri="{FF2B5EF4-FFF2-40B4-BE49-F238E27FC236}">
                  <a16:creationId xmlns:a16="http://schemas.microsoft.com/office/drawing/2014/main" id="{E616EA60-8202-499B-B442-976A51F7BCCB}"/>
                </a:ext>
              </a:extLst>
            </p:cNvPr>
            <p:cNvSpPr/>
            <p:nvPr/>
          </p:nvSpPr>
          <p:spPr>
            <a:xfrm>
              <a:off x="12842092" y="4048572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75" name="Oval 374">
              <a:extLst>
                <a:ext uri="{FF2B5EF4-FFF2-40B4-BE49-F238E27FC236}">
                  <a16:creationId xmlns:a16="http://schemas.microsoft.com/office/drawing/2014/main" id="{3ABB0DDC-94CF-4181-98EB-1B2F2667E3EF}"/>
                </a:ext>
              </a:extLst>
            </p:cNvPr>
            <p:cNvSpPr/>
            <p:nvPr/>
          </p:nvSpPr>
          <p:spPr>
            <a:xfrm>
              <a:off x="12808734" y="3974438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76" name="Oval 375">
              <a:extLst>
                <a:ext uri="{FF2B5EF4-FFF2-40B4-BE49-F238E27FC236}">
                  <a16:creationId xmlns:a16="http://schemas.microsoft.com/office/drawing/2014/main" id="{DF4FAC39-952E-4EAD-A5E7-3BCCFD682562}"/>
                </a:ext>
              </a:extLst>
            </p:cNvPr>
            <p:cNvSpPr/>
            <p:nvPr/>
          </p:nvSpPr>
          <p:spPr>
            <a:xfrm>
              <a:off x="12768792" y="3907374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77" name="Oval 376">
              <a:extLst>
                <a:ext uri="{FF2B5EF4-FFF2-40B4-BE49-F238E27FC236}">
                  <a16:creationId xmlns:a16="http://schemas.microsoft.com/office/drawing/2014/main" id="{3CE51024-7F1F-42F3-ADF2-FD3F2DCF5336}"/>
                </a:ext>
              </a:extLst>
            </p:cNvPr>
            <p:cNvSpPr/>
            <p:nvPr/>
          </p:nvSpPr>
          <p:spPr>
            <a:xfrm>
              <a:off x="12845913" y="3907374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78" name="Oval 377">
              <a:extLst>
                <a:ext uri="{FF2B5EF4-FFF2-40B4-BE49-F238E27FC236}">
                  <a16:creationId xmlns:a16="http://schemas.microsoft.com/office/drawing/2014/main" id="{127E3235-62B8-44FD-B056-2A2815719ABB}"/>
                </a:ext>
              </a:extLst>
            </p:cNvPr>
            <p:cNvSpPr/>
            <p:nvPr/>
          </p:nvSpPr>
          <p:spPr>
            <a:xfrm>
              <a:off x="12807352" y="3840310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79" name="Oval 378">
              <a:extLst>
                <a:ext uri="{FF2B5EF4-FFF2-40B4-BE49-F238E27FC236}">
                  <a16:creationId xmlns:a16="http://schemas.microsoft.com/office/drawing/2014/main" id="{FC748129-D1C2-4FEB-81D2-9D64272C481F}"/>
                </a:ext>
              </a:extLst>
            </p:cNvPr>
            <p:cNvSpPr/>
            <p:nvPr/>
          </p:nvSpPr>
          <p:spPr>
            <a:xfrm>
              <a:off x="12883532" y="3840309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80" name="Oval 379">
              <a:extLst>
                <a:ext uri="{FF2B5EF4-FFF2-40B4-BE49-F238E27FC236}">
                  <a16:creationId xmlns:a16="http://schemas.microsoft.com/office/drawing/2014/main" id="{98AA89E2-0AA4-4E02-B6FA-1C4B89D8653C}"/>
                </a:ext>
              </a:extLst>
            </p:cNvPr>
            <p:cNvSpPr/>
            <p:nvPr/>
          </p:nvSpPr>
          <p:spPr>
            <a:xfrm>
              <a:off x="12727684" y="3839973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81" name="Oval 380">
              <a:extLst>
                <a:ext uri="{FF2B5EF4-FFF2-40B4-BE49-F238E27FC236}">
                  <a16:creationId xmlns:a16="http://schemas.microsoft.com/office/drawing/2014/main" id="{F8295E63-6DC7-4652-AAE6-905C8F5C69B7}"/>
                </a:ext>
              </a:extLst>
            </p:cNvPr>
            <p:cNvSpPr/>
            <p:nvPr/>
          </p:nvSpPr>
          <p:spPr>
            <a:xfrm>
              <a:off x="13041710" y="3976467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82" name="Oval 381">
              <a:extLst>
                <a:ext uri="{FF2B5EF4-FFF2-40B4-BE49-F238E27FC236}">
                  <a16:creationId xmlns:a16="http://schemas.microsoft.com/office/drawing/2014/main" id="{0D9C84EC-4ACD-4D74-AE68-9C2CB0E4A299}"/>
                </a:ext>
              </a:extLst>
            </p:cNvPr>
            <p:cNvSpPr/>
            <p:nvPr/>
          </p:nvSpPr>
          <p:spPr>
            <a:xfrm>
              <a:off x="13001768" y="3909403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83" name="Oval 382">
              <a:extLst>
                <a:ext uri="{FF2B5EF4-FFF2-40B4-BE49-F238E27FC236}">
                  <a16:creationId xmlns:a16="http://schemas.microsoft.com/office/drawing/2014/main" id="{6FEA6269-97C1-4DF2-8E38-644C916B7C86}"/>
                </a:ext>
              </a:extLst>
            </p:cNvPr>
            <p:cNvSpPr/>
            <p:nvPr/>
          </p:nvSpPr>
          <p:spPr>
            <a:xfrm>
              <a:off x="13078889" y="3909403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84" name="Oval 383">
              <a:extLst>
                <a:ext uri="{FF2B5EF4-FFF2-40B4-BE49-F238E27FC236}">
                  <a16:creationId xmlns:a16="http://schemas.microsoft.com/office/drawing/2014/main" id="{236517BF-073A-4B92-A1D7-2B33BEAFE66C}"/>
                </a:ext>
              </a:extLst>
            </p:cNvPr>
            <p:cNvSpPr/>
            <p:nvPr/>
          </p:nvSpPr>
          <p:spPr>
            <a:xfrm>
              <a:off x="13040328" y="3842339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85" name="Oval 384">
              <a:extLst>
                <a:ext uri="{FF2B5EF4-FFF2-40B4-BE49-F238E27FC236}">
                  <a16:creationId xmlns:a16="http://schemas.microsoft.com/office/drawing/2014/main" id="{B7655CF9-C485-4B71-A698-634231EC9C1B}"/>
                </a:ext>
              </a:extLst>
            </p:cNvPr>
            <p:cNvSpPr/>
            <p:nvPr/>
          </p:nvSpPr>
          <p:spPr>
            <a:xfrm>
              <a:off x="13122544" y="3842338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86" name="Oval 385">
              <a:extLst>
                <a:ext uri="{FF2B5EF4-FFF2-40B4-BE49-F238E27FC236}">
                  <a16:creationId xmlns:a16="http://schemas.microsoft.com/office/drawing/2014/main" id="{02FE88B3-A92B-41FC-BEBF-4240F908EB09}"/>
                </a:ext>
              </a:extLst>
            </p:cNvPr>
            <p:cNvSpPr/>
            <p:nvPr/>
          </p:nvSpPr>
          <p:spPr>
            <a:xfrm>
              <a:off x="12960660" y="3842002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87" name="Oval 386">
              <a:extLst>
                <a:ext uri="{FF2B5EF4-FFF2-40B4-BE49-F238E27FC236}">
                  <a16:creationId xmlns:a16="http://schemas.microsoft.com/office/drawing/2014/main" id="{3560EF28-FD39-425C-9DAF-664838A6B01E}"/>
                </a:ext>
              </a:extLst>
            </p:cNvPr>
            <p:cNvSpPr/>
            <p:nvPr/>
          </p:nvSpPr>
          <p:spPr>
            <a:xfrm>
              <a:off x="12884708" y="3981681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88" name="Oval 387">
              <a:extLst>
                <a:ext uri="{FF2B5EF4-FFF2-40B4-BE49-F238E27FC236}">
                  <a16:creationId xmlns:a16="http://schemas.microsoft.com/office/drawing/2014/main" id="{51C6DB35-DD7F-4414-B7CD-720C44643574}"/>
                </a:ext>
              </a:extLst>
            </p:cNvPr>
            <p:cNvSpPr/>
            <p:nvPr/>
          </p:nvSpPr>
          <p:spPr>
            <a:xfrm>
              <a:off x="12961829" y="3981681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89" name="Oval 388">
              <a:extLst>
                <a:ext uri="{FF2B5EF4-FFF2-40B4-BE49-F238E27FC236}">
                  <a16:creationId xmlns:a16="http://schemas.microsoft.com/office/drawing/2014/main" id="{983969F3-6C23-40FD-9813-FBF3ED03252E}"/>
                </a:ext>
              </a:extLst>
            </p:cNvPr>
            <p:cNvSpPr/>
            <p:nvPr/>
          </p:nvSpPr>
          <p:spPr>
            <a:xfrm>
              <a:off x="12923268" y="3914617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graphicFrame>
        <p:nvGraphicFramePr>
          <p:cNvPr id="393" name="Object 392">
            <a:extLst>
              <a:ext uri="{FF2B5EF4-FFF2-40B4-BE49-F238E27FC236}">
                <a16:creationId xmlns:a16="http://schemas.microsoft.com/office/drawing/2014/main" id="{7C8F0617-F49F-41E9-A744-4A3DBF67A54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822584" y="2614834"/>
          <a:ext cx="1733550" cy="1009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3" imgW="2311504" imgH="1345415" progId="ChemDraw.Document.6.0">
                  <p:embed/>
                </p:oleObj>
              </mc:Choice>
              <mc:Fallback>
                <p:oleObj name="CS ChemDraw Drawing" r:id="rId13" imgW="2311504" imgH="1345415" progId="ChemDraw.Document.6.0">
                  <p:embed/>
                  <p:pic>
                    <p:nvPicPr>
                      <p:cNvPr id="393" name="Object 392">
                        <a:extLst>
                          <a:ext uri="{FF2B5EF4-FFF2-40B4-BE49-F238E27FC236}">
                            <a16:creationId xmlns:a16="http://schemas.microsoft.com/office/drawing/2014/main" id="{7C8F0617-F49F-41E9-A744-4A3DBF67A5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822584" y="2614834"/>
                        <a:ext cx="1733550" cy="1009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94" name="Object 393">
            <a:extLst>
              <a:ext uri="{FF2B5EF4-FFF2-40B4-BE49-F238E27FC236}">
                <a16:creationId xmlns:a16="http://schemas.microsoft.com/office/drawing/2014/main" id="{E8376C63-89DE-408B-B604-81D38E4DFEB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914263" y="3552127"/>
          <a:ext cx="1641872" cy="10679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4" imgW="2189584" imgH="1424594" progId="ChemDraw.Document.6.0">
                  <p:embed/>
                </p:oleObj>
              </mc:Choice>
              <mc:Fallback>
                <p:oleObj name="CS ChemDraw Drawing" r:id="rId14" imgW="2189584" imgH="1424594" progId="ChemDraw.Document.6.0">
                  <p:embed/>
                  <p:pic>
                    <p:nvPicPr>
                      <p:cNvPr id="394" name="Object 393">
                        <a:extLst>
                          <a:ext uri="{FF2B5EF4-FFF2-40B4-BE49-F238E27FC236}">
                            <a16:creationId xmlns:a16="http://schemas.microsoft.com/office/drawing/2014/main" id="{E8376C63-89DE-408B-B604-81D38E4DFE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6914263" y="3552127"/>
                        <a:ext cx="1641872" cy="10679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4" name="Oval 483">
            <a:extLst>
              <a:ext uri="{FF2B5EF4-FFF2-40B4-BE49-F238E27FC236}">
                <a16:creationId xmlns:a16="http://schemas.microsoft.com/office/drawing/2014/main" id="{E91201F0-E2E1-483C-B9EC-0BE6AFA703FC}"/>
              </a:ext>
            </a:extLst>
          </p:cNvPr>
          <p:cNvSpPr/>
          <p:nvPr/>
        </p:nvSpPr>
        <p:spPr>
          <a:xfrm flipV="1">
            <a:off x="8237182" y="3007380"/>
            <a:ext cx="57841" cy="57841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485" name="Group 484">
            <a:extLst>
              <a:ext uri="{FF2B5EF4-FFF2-40B4-BE49-F238E27FC236}">
                <a16:creationId xmlns:a16="http://schemas.microsoft.com/office/drawing/2014/main" id="{6D642F58-8BB1-42B4-AF1B-A625E8B751CB}"/>
              </a:ext>
            </a:extLst>
          </p:cNvPr>
          <p:cNvGrpSpPr/>
          <p:nvPr/>
        </p:nvGrpSpPr>
        <p:grpSpPr>
          <a:xfrm>
            <a:off x="8094558" y="3763698"/>
            <a:ext cx="353986" cy="315139"/>
            <a:chOff x="12727684" y="3839973"/>
            <a:chExt cx="471981" cy="420185"/>
          </a:xfrm>
          <a:solidFill>
            <a:schemeClr val="tx2"/>
          </a:solidFill>
        </p:grpSpPr>
        <p:sp>
          <p:nvSpPr>
            <p:cNvPr id="486" name="Oval 485">
              <a:extLst>
                <a:ext uri="{FF2B5EF4-FFF2-40B4-BE49-F238E27FC236}">
                  <a16:creationId xmlns:a16="http://schemas.microsoft.com/office/drawing/2014/main" id="{B0ADBF1C-1E10-433A-8A4D-E412047D7438}"/>
                </a:ext>
              </a:extLst>
            </p:cNvPr>
            <p:cNvSpPr/>
            <p:nvPr/>
          </p:nvSpPr>
          <p:spPr>
            <a:xfrm>
              <a:off x="12923142" y="4183037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87" name="Oval 486">
              <a:extLst>
                <a:ext uri="{FF2B5EF4-FFF2-40B4-BE49-F238E27FC236}">
                  <a16:creationId xmlns:a16="http://schemas.microsoft.com/office/drawing/2014/main" id="{B68DDE0A-B468-41B9-A965-0488821C785F}"/>
                </a:ext>
              </a:extLst>
            </p:cNvPr>
            <p:cNvSpPr/>
            <p:nvPr/>
          </p:nvSpPr>
          <p:spPr>
            <a:xfrm>
              <a:off x="12883200" y="4115973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88" name="Oval 487">
              <a:extLst>
                <a:ext uri="{FF2B5EF4-FFF2-40B4-BE49-F238E27FC236}">
                  <a16:creationId xmlns:a16="http://schemas.microsoft.com/office/drawing/2014/main" id="{A137EA3E-CB44-4270-AAD2-C7B65936AD2B}"/>
                </a:ext>
              </a:extLst>
            </p:cNvPr>
            <p:cNvSpPr/>
            <p:nvPr/>
          </p:nvSpPr>
          <p:spPr>
            <a:xfrm>
              <a:off x="12960321" y="4115973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89" name="Oval 488">
              <a:extLst>
                <a:ext uri="{FF2B5EF4-FFF2-40B4-BE49-F238E27FC236}">
                  <a16:creationId xmlns:a16="http://schemas.microsoft.com/office/drawing/2014/main" id="{90EE3D4E-4803-4DA5-B73D-37A29DFAB320}"/>
                </a:ext>
              </a:extLst>
            </p:cNvPr>
            <p:cNvSpPr/>
            <p:nvPr/>
          </p:nvSpPr>
          <p:spPr>
            <a:xfrm>
              <a:off x="12921760" y="4048909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90" name="Oval 489">
              <a:extLst>
                <a:ext uri="{FF2B5EF4-FFF2-40B4-BE49-F238E27FC236}">
                  <a16:creationId xmlns:a16="http://schemas.microsoft.com/office/drawing/2014/main" id="{3F25B9CE-C9F9-4B91-9384-61744EA285C7}"/>
                </a:ext>
              </a:extLst>
            </p:cNvPr>
            <p:cNvSpPr/>
            <p:nvPr/>
          </p:nvSpPr>
          <p:spPr>
            <a:xfrm>
              <a:off x="13003976" y="4048908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91" name="Oval 490">
              <a:extLst>
                <a:ext uri="{FF2B5EF4-FFF2-40B4-BE49-F238E27FC236}">
                  <a16:creationId xmlns:a16="http://schemas.microsoft.com/office/drawing/2014/main" id="{01B64486-6F0C-484B-B152-4E402D2FAF8F}"/>
                </a:ext>
              </a:extLst>
            </p:cNvPr>
            <p:cNvSpPr/>
            <p:nvPr/>
          </p:nvSpPr>
          <p:spPr>
            <a:xfrm>
              <a:off x="12842092" y="4048572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92" name="Oval 491">
              <a:extLst>
                <a:ext uri="{FF2B5EF4-FFF2-40B4-BE49-F238E27FC236}">
                  <a16:creationId xmlns:a16="http://schemas.microsoft.com/office/drawing/2014/main" id="{585816CB-F156-48D6-945E-863C0F37DE60}"/>
                </a:ext>
              </a:extLst>
            </p:cNvPr>
            <p:cNvSpPr/>
            <p:nvPr/>
          </p:nvSpPr>
          <p:spPr>
            <a:xfrm>
              <a:off x="12808734" y="3974438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93" name="Oval 492">
              <a:extLst>
                <a:ext uri="{FF2B5EF4-FFF2-40B4-BE49-F238E27FC236}">
                  <a16:creationId xmlns:a16="http://schemas.microsoft.com/office/drawing/2014/main" id="{093D13A2-73E7-454D-B9D6-02947930CC7B}"/>
                </a:ext>
              </a:extLst>
            </p:cNvPr>
            <p:cNvSpPr/>
            <p:nvPr/>
          </p:nvSpPr>
          <p:spPr>
            <a:xfrm>
              <a:off x="12768792" y="3907374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94" name="Oval 493">
              <a:extLst>
                <a:ext uri="{FF2B5EF4-FFF2-40B4-BE49-F238E27FC236}">
                  <a16:creationId xmlns:a16="http://schemas.microsoft.com/office/drawing/2014/main" id="{68E45862-760D-4BB2-8CFE-43D62EF706BE}"/>
                </a:ext>
              </a:extLst>
            </p:cNvPr>
            <p:cNvSpPr/>
            <p:nvPr/>
          </p:nvSpPr>
          <p:spPr>
            <a:xfrm>
              <a:off x="12845913" y="3907374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95" name="Oval 494">
              <a:extLst>
                <a:ext uri="{FF2B5EF4-FFF2-40B4-BE49-F238E27FC236}">
                  <a16:creationId xmlns:a16="http://schemas.microsoft.com/office/drawing/2014/main" id="{D6EDE8D5-432D-4D69-97E1-0DBA541D910D}"/>
                </a:ext>
              </a:extLst>
            </p:cNvPr>
            <p:cNvSpPr/>
            <p:nvPr/>
          </p:nvSpPr>
          <p:spPr>
            <a:xfrm>
              <a:off x="12807352" y="3840310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96" name="Oval 495">
              <a:extLst>
                <a:ext uri="{FF2B5EF4-FFF2-40B4-BE49-F238E27FC236}">
                  <a16:creationId xmlns:a16="http://schemas.microsoft.com/office/drawing/2014/main" id="{F7046EA6-67EC-4ABC-8075-7D4A59F11974}"/>
                </a:ext>
              </a:extLst>
            </p:cNvPr>
            <p:cNvSpPr/>
            <p:nvPr/>
          </p:nvSpPr>
          <p:spPr>
            <a:xfrm>
              <a:off x="12883532" y="3840309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97" name="Oval 496">
              <a:extLst>
                <a:ext uri="{FF2B5EF4-FFF2-40B4-BE49-F238E27FC236}">
                  <a16:creationId xmlns:a16="http://schemas.microsoft.com/office/drawing/2014/main" id="{126EBB4F-9BAA-4BA6-8E42-36F9FF680861}"/>
                </a:ext>
              </a:extLst>
            </p:cNvPr>
            <p:cNvSpPr/>
            <p:nvPr/>
          </p:nvSpPr>
          <p:spPr>
            <a:xfrm>
              <a:off x="12727684" y="3839973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98" name="Oval 497">
              <a:extLst>
                <a:ext uri="{FF2B5EF4-FFF2-40B4-BE49-F238E27FC236}">
                  <a16:creationId xmlns:a16="http://schemas.microsoft.com/office/drawing/2014/main" id="{518FC35A-FFD8-4294-94E8-A5246527CB75}"/>
                </a:ext>
              </a:extLst>
            </p:cNvPr>
            <p:cNvSpPr/>
            <p:nvPr/>
          </p:nvSpPr>
          <p:spPr>
            <a:xfrm>
              <a:off x="13041710" y="3976467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99" name="Oval 498">
              <a:extLst>
                <a:ext uri="{FF2B5EF4-FFF2-40B4-BE49-F238E27FC236}">
                  <a16:creationId xmlns:a16="http://schemas.microsoft.com/office/drawing/2014/main" id="{C5079756-6DDF-4CD1-BE8E-CA30B60928B1}"/>
                </a:ext>
              </a:extLst>
            </p:cNvPr>
            <p:cNvSpPr/>
            <p:nvPr/>
          </p:nvSpPr>
          <p:spPr>
            <a:xfrm>
              <a:off x="13001768" y="3909403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500" name="Oval 499">
              <a:extLst>
                <a:ext uri="{FF2B5EF4-FFF2-40B4-BE49-F238E27FC236}">
                  <a16:creationId xmlns:a16="http://schemas.microsoft.com/office/drawing/2014/main" id="{632234BD-A4D3-4470-A63F-E19AD31F7195}"/>
                </a:ext>
              </a:extLst>
            </p:cNvPr>
            <p:cNvSpPr/>
            <p:nvPr/>
          </p:nvSpPr>
          <p:spPr>
            <a:xfrm>
              <a:off x="13078889" y="3909403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501" name="Oval 500">
              <a:extLst>
                <a:ext uri="{FF2B5EF4-FFF2-40B4-BE49-F238E27FC236}">
                  <a16:creationId xmlns:a16="http://schemas.microsoft.com/office/drawing/2014/main" id="{E5F7F152-E6D5-467F-8043-94F13A45FCF1}"/>
                </a:ext>
              </a:extLst>
            </p:cNvPr>
            <p:cNvSpPr/>
            <p:nvPr/>
          </p:nvSpPr>
          <p:spPr>
            <a:xfrm>
              <a:off x="13040328" y="3842339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502" name="Oval 501">
              <a:extLst>
                <a:ext uri="{FF2B5EF4-FFF2-40B4-BE49-F238E27FC236}">
                  <a16:creationId xmlns:a16="http://schemas.microsoft.com/office/drawing/2014/main" id="{76ABE511-087C-48AD-8735-FFB4DE52C09E}"/>
                </a:ext>
              </a:extLst>
            </p:cNvPr>
            <p:cNvSpPr/>
            <p:nvPr/>
          </p:nvSpPr>
          <p:spPr>
            <a:xfrm>
              <a:off x="13122544" y="3842338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503" name="Oval 502">
              <a:extLst>
                <a:ext uri="{FF2B5EF4-FFF2-40B4-BE49-F238E27FC236}">
                  <a16:creationId xmlns:a16="http://schemas.microsoft.com/office/drawing/2014/main" id="{27969A78-6425-45F4-8DC6-E52310BD527C}"/>
                </a:ext>
              </a:extLst>
            </p:cNvPr>
            <p:cNvSpPr/>
            <p:nvPr/>
          </p:nvSpPr>
          <p:spPr>
            <a:xfrm>
              <a:off x="12960660" y="3842002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504" name="Oval 503">
              <a:extLst>
                <a:ext uri="{FF2B5EF4-FFF2-40B4-BE49-F238E27FC236}">
                  <a16:creationId xmlns:a16="http://schemas.microsoft.com/office/drawing/2014/main" id="{B17BA0D1-4D33-44A4-93EE-7211F003B483}"/>
                </a:ext>
              </a:extLst>
            </p:cNvPr>
            <p:cNvSpPr/>
            <p:nvPr/>
          </p:nvSpPr>
          <p:spPr>
            <a:xfrm>
              <a:off x="12884708" y="3981681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505" name="Oval 504">
              <a:extLst>
                <a:ext uri="{FF2B5EF4-FFF2-40B4-BE49-F238E27FC236}">
                  <a16:creationId xmlns:a16="http://schemas.microsoft.com/office/drawing/2014/main" id="{312A5254-AA7D-49E8-8549-85661DCF4862}"/>
                </a:ext>
              </a:extLst>
            </p:cNvPr>
            <p:cNvSpPr/>
            <p:nvPr/>
          </p:nvSpPr>
          <p:spPr>
            <a:xfrm>
              <a:off x="12961829" y="3981681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506" name="Oval 505">
              <a:extLst>
                <a:ext uri="{FF2B5EF4-FFF2-40B4-BE49-F238E27FC236}">
                  <a16:creationId xmlns:a16="http://schemas.microsoft.com/office/drawing/2014/main" id="{E2E8A8EB-02B1-47F0-97A7-55A11CB1D00E}"/>
                </a:ext>
              </a:extLst>
            </p:cNvPr>
            <p:cNvSpPr/>
            <p:nvPr/>
          </p:nvSpPr>
          <p:spPr>
            <a:xfrm>
              <a:off x="12923268" y="3914617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sp>
        <p:nvSpPr>
          <p:cNvPr id="507" name="Oval 506">
            <a:extLst>
              <a:ext uri="{FF2B5EF4-FFF2-40B4-BE49-F238E27FC236}">
                <a16:creationId xmlns:a16="http://schemas.microsoft.com/office/drawing/2014/main" id="{FB1C2D33-BC03-4879-9709-E2C66C75D84B}"/>
              </a:ext>
            </a:extLst>
          </p:cNvPr>
          <p:cNvSpPr/>
          <p:nvPr/>
        </p:nvSpPr>
        <p:spPr>
          <a:xfrm flipV="1">
            <a:off x="8244325" y="4027872"/>
            <a:ext cx="57841" cy="57841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aphicFrame>
        <p:nvGraphicFramePr>
          <p:cNvPr id="509" name="Object 508">
            <a:extLst>
              <a:ext uri="{FF2B5EF4-FFF2-40B4-BE49-F238E27FC236}">
                <a16:creationId xmlns:a16="http://schemas.microsoft.com/office/drawing/2014/main" id="{6AF73779-46C9-4D94-91CC-C1C614D96AF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46578369"/>
              </p:ext>
            </p:extLst>
          </p:nvPr>
        </p:nvGraphicFramePr>
        <p:xfrm>
          <a:off x="6875663" y="1229259"/>
          <a:ext cx="2164556" cy="1525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5" imgW="2886269" imgH="2034332" progId="ChemDraw.Document.6.0">
                  <p:embed/>
                </p:oleObj>
              </mc:Choice>
              <mc:Fallback>
                <p:oleObj name="CS ChemDraw Drawing" r:id="rId15" imgW="2886269" imgH="2034332" progId="ChemDraw.Document.6.0">
                  <p:embed/>
                  <p:pic>
                    <p:nvPicPr>
                      <p:cNvPr id="509" name="Object 508">
                        <a:extLst>
                          <a:ext uri="{FF2B5EF4-FFF2-40B4-BE49-F238E27FC236}">
                            <a16:creationId xmlns:a16="http://schemas.microsoft.com/office/drawing/2014/main" id="{6AF73779-46C9-4D94-91CC-C1C614D96A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6875663" y="1229259"/>
                        <a:ext cx="2164556" cy="1525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20" name="Group 519">
            <a:extLst>
              <a:ext uri="{FF2B5EF4-FFF2-40B4-BE49-F238E27FC236}">
                <a16:creationId xmlns:a16="http://schemas.microsoft.com/office/drawing/2014/main" id="{AF7D203A-2F0D-46FC-8996-1AE63DA9A708}"/>
              </a:ext>
            </a:extLst>
          </p:cNvPr>
          <p:cNvGrpSpPr/>
          <p:nvPr/>
        </p:nvGrpSpPr>
        <p:grpSpPr>
          <a:xfrm>
            <a:off x="6792854" y="397494"/>
            <a:ext cx="1971675" cy="1057275"/>
            <a:chOff x="9057139" y="79056"/>
            <a:chExt cx="2628900" cy="1409700"/>
          </a:xfrm>
        </p:grpSpPr>
        <p:sp>
          <p:nvSpPr>
            <p:cNvPr id="395" name="Oval 394">
              <a:extLst>
                <a:ext uri="{FF2B5EF4-FFF2-40B4-BE49-F238E27FC236}">
                  <a16:creationId xmlns:a16="http://schemas.microsoft.com/office/drawing/2014/main" id="{04506ECF-0A33-45AB-9CC3-2A9E64FFBC0F}"/>
                </a:ext>
              </a:extLst>
            </p:cNvPr>
            <p:cNvSpPr/>
            <p:nvPr/>
          </p:nvSpPr>
          <p:spPr>
            <a:xfrm flipV="1">
              <a:off x="10936952" y="35917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96" name="Oval 395">
              <a:extLst>
                <a:ext uri="{FF2B5EF4-FFF2-40B4-BE49-F238E27FC236}">
                  <a16:creationId xmlns:a16="http://schemas.microsoft.com/office/drawing/2014/main" id="{3227804A-7D75-4E8F-917A-D4E43F776459}"/>
                </a:ext>
              </a:extLst>
            </p:cNvPr>
            <p:cNvSpPr/>
            <p:nvPr/>
          </p:nvSpPr>
          <p:spPr>
            <a:xfrm flipV="1">
              <a:off x="10897010" y="42624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97" name="Oval 396">
              <a:extLst>
                <a:ext uri="{FF2B5EF4-FFF2-40B4-BE49-F238E27FC236}">
                  <a16:creationId xmlns:a16="http://schemas.microsoft.com/office/drawing/2014/main" id="{0D488AB5-A78B-4063-B0B8-828B4E74B5A7}"/>
                </a:ext>
              </a:extLst>
            </p:cNvPr>
            <p:cNvSpPr/>
            <p:nvPr/>
          </p:nvSpPr>
          <p:spPr>
            <a:xfrm flipV="1">
              <a:off x="10974131" y="42624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98" name="Oval 397">
              <a:extLst>
                <a:ext uri="{FF2B5EF4-FFF2-40B4-BE49-F238E27FC236}">
                  <a16:creationId xmlns:a16="http://schemas.microsoft.com/office/drawing/2014/main" id="{B6CBB9FE-BEAD-46F2-B9C0-DD9E61AF990D}"/>
                </a:ext>
              </a:extLst>
            </p:cNvPr>
            <p:cNvSpPr/>
            <p:nvPr/>
          </p:nvSpPr>
          <p:spPr>
            <a:xfrm flipV="1">
              <a:off x="10935570" y="493305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99" name="Oval 398">
              <a:extLst>
                <a:ext uri="{FF2B5EF4-FFF2-40B4-BE49-F238E27FC236}">
                  <a16:creationId xmlns:a16="http://schemas.microsoft.com/office/drawing/2014/main" id="{4B44ABE8-7C7B-4220-9145-247CB54489C4}"/>
                </a:ext>
              </a:extLst>
            </p:cNvPr>
            <p:cNvSpPr/>
            <p:nvPr/>
          </p:nvSpPr>
          <p:spPr>
            <a:xfrm flipV="1">
              <a:off x="11017786" y="493306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00" name="Oval 399">
              <a:extLst>
                <a:ext uri="{FF2B5EF4-FFF2-40B4-BE49-F238E27FC236}">
                  <a16:creationId xmlns:a16="http://schemas.microsoft.com/office/drawing/2014/main" id="{1115C26F-432E-42F6-AEA4-64AA9C7E5A83}"/>
                </a:ext>
              </a:extLst>
            </p:cNvPr>
            <p:cNvSpPr/>
            <p:nvPr/>
          </p:nvSpPr>
          <p:spPr>
            <a:xfrm flipV="1">
              <a:off x="10855902" y="49364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01" name="Oval 400">
              <a:extLst>
                <a:ext uri="{FF2B5EF4-FFF2-40B4-BE49-F238E27FC236}">
                  <a16:creationId xmlns:a16="http://schemas.microsoft.com/office/drawing/2014/main" id="{494EEC54-33EF-454D-9263-D2115DE85BD1}"/>
                </a:ext>
              </a:extLst>
            </p:cNvPr>
            <p:cNvSpPr/>
            <p:nvPr/>
          </p:nvSpPr>
          <p:spPr>
            <a:xfrm flipV="1">
              <a:off x="10822544" y="567776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02" name="Oval 401">
              <a:extLst>
                <a:ext uri="{FF2B5EF4-FFF2-40B4-BE49-F238E27FC236}">
                  <a16:creationId xmlns:a16="http://schemas.microsoft.com/office/drawing/2014/main" id="{602978FC-258C-4228-B38B-9344660B0413}"/>
                </a:ext>
              </a:extLst>
            </p:cNvPr>
            <p:cNvSpPr/>
            <p:nvPr/>
          </p:nvSpPr>
          <p:spPr>
            <a:xfrm flipV="1">
              <a:off x="10782602" y="63484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03" name="Oval 402">
              <a:extLst>
                <a:ext uri="{FF2B5EF4-FFF2-40B4-BE49-F238E27FC236}">
                  <a16:creationId xmlns:a16="http://schemas.microsoft.com/office/drawing/2014/main" id="{0BA2B3B5-CB8D-4F82-A21E-445716AE66BD}"/>
                </a:ext>
              </a:extLst>
            </p:cNvPr>
            <p:cNvSpPr/>
            <p:nvPr/>
          </p:nvSpPr>
          <p:spPr>
            <a:xfrm flipV="1">
              <a:off x="10859723" y="63484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04" name="Oval 403">
              <a:extLst>
                <a:ext uri="{FF2B5EF4-FFF2-40B4-BE49-F238E27FC236}">
                  <a16:creationId xmlns:a16="http://schemas.microsoft.com/office/drawing/2014/main" id="{12DFDF19-15D3-4D01-9D1B-F126665490DE}"/>
                </a:ext>
              </a:extLst>
            </p:cNvPr>
            <p:cNvSpPr/>
            <p:nvPr/>
          </p:nvSpPr>
          <p:spPr>
            <a:xfrm flipV="1">
              <a:off x="10821162" y="70190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05" name="Oval 404">
              <a:extLst>
                <a:ext uri="{FF2B5EF4-FFF2-40B4-BE49-F238E27FC236}">
                  <a16:creationId xmlns:a16="http://schemas.microsoft.com/office/drawing/2014/main" id="{34E3D215-8B11-48EF-871F-C105B9B3F04F}"/>
                </a:ext>
              </a:extLst>
            </p:cNvPr>
            <p:cNvSpPr/>
            <p:nvPr/>
          </p:nvSpPr>
          <p:spPr>
            <a:xfrm flipV="1">
              <a:off x="10897342" y="701905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06" name="Oval 405">
              <a:extLst>
                <a:ext uri="{FF2B5EF4-FFF2-40B4-BE49-F238E27FC236}">
                  <a16:creationId xmlns:a16="http://schemas.microsoft.com/office/drawing/2014/main" id="{80CA0AB3-8DDB-4F19-8CA0-AF29653AB34A}"/>
                </a:ext>
              </a:extLst>
            </p:cNvPr>
            <p:cNvSpPr/>
            <p:nvPr/>
          </p:nvSpPr>
          <p:spPr>
            <a:xfrm flipV="1">
              <a:off x="10741494" y="70224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07" name="Oval 406">
              <a:extLst>
                <a:ext uri="{FF2B5EF4-FFF2-40B4-BE49-F238E27FC236}">
                  <a16:creationId xmlns:a16="http://schemas.microsoft.com/office/drawing/2014/main" id="{0C83D4FA-BC1D-41BD-8A6D-6FB2AB2C172F}"/>
                </a:ext>
              </a:extLst>
            </p:cNvPr>
            <p:cNvSpPr/>
            <p:nvPr/>
          </p:nvSpPr>
          <p:spPr>
            <a:xfrm flipV="1">
              <a:off x="11055520" y="56574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08" name="Oval 407">
              <a:extLst>
                <a:ext uri="{FF2B5EF4-FFF2-40B4-BE49-F238E27FC236}">
                  <a16:creationId xmlns:a16="http://schemas.microsoft.com/office/drawing/2014/main" id="{B2435A73-DDF2-4AD9-82D6-AE6AF2595ADF}"/>
                </a:ext>
              </a:extLst>
            </p:cNvPr>
            <p:cNvSpPr/>
            <p:nvPr/>
          </p:nvSpPr>
          <p:spPr>
            <a:xfrm flipV="1">
              <a:off x="11015578" y="63281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09" name="Oval 408">
              <a:extLst>
                <a:ext uri="{FF2B5EF4-FFF2-40B4-BE49-F238E27FC236}">
                  <a16:creationId xmlns:a16="http://schemas.microsoft.com/office/drawing/2014/main" id="{B4A2C4B4-4537-4BE1-8988-E9A31B4545D0}"/>
                </a:ext>
              </a:extLst>
            </p:cNvPr>
            <p:cNvSpPr/>
            <p:nvPr/>
          </p:nvSpPr>
          <p:spPr>
            <a:xfrm flipV="1">
              <a:off x="11092699" y="63281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10" name="Oval 409">
              <a:extLst>
                <a:ext uri="{FF2B5EF4-FFF2-40B4-BE49-F238E27FC236}">
                  <a16:creationId xmlns:a16="http://schemas.microsoft.com/office/drawing/2014/main" id="{6FB766AD-06E4-46A8-9F20-CA419F7C0539}"/>
                </a:ext>
              </a:extLst>
            </p:cNvPr>
            <p:cNvSpPr/>
            <p:nvPr/>
          </p:nvSpPr>
          <p:spPr>
            <a:xfrm flipV="1">
              <a:off x="11054138" y="699875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11" name="Oval 410">
              <a:extLst>
                <a:ext uri="{FF2B5EF4-FFF2-40B4-BE49-F238E27FC236}">
                  <a16:creationId xmlns:a16="http://schemas.microsoft.com/office/drawing/2014/main" id="{3393768D-41DB-432D-A926-26E3B9C82FC1}"/>
                </a:ext>
              </a:extLst>
            </p:cNvPr>
            <p:cNvSpPr/>
            <p:nvPr/>
          </p:nvSpPr>
          <p:spPr>
            <a:xfrm flipV="1">
              <a:off x="11136354" y="699876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12" name="Oval 411">
              <a:extLst>
                <a:ext uri="{FF2B5EF4-FFF2-40B4-BE49-F238E27FC236}">
                  <a16:creationId xmlns:a16="http://schemas.microsoft.com/office/drawing/2014/main" id="{E996D6FD-44E8-4ED2-A269-AFA8FB60CAB9}"/>
                </a:ext>
              </a:extLst>
            </p:cNvPr>
            <p:cNvSpPr/>
            <p:nvPr/>
          </p:nvSpPr>
          <p:spPr>
            <a:xfrm flipV="1">
              <a:off x="10974470" y="70021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13" name="Oval 412">
              <a:extLst>
                <a:ext uri="{FF2B5EF4-FFF2-40B4-BE49-F238E27FC236}">
                  <a16:creationId xmlns:a16="http://schemas.microsoft.com/office/drawing/2014/main" id="{0499D7D2-7CB0-4058-B393-BE92642AC614}"/>
                </a:ext>
              </a:extLst>
            </p:cNvPr>
            <p:cNvSpPr/>
            <p:nvPr/>
          </p:nvSpPr>
          <p:spPr>
            <a:xfrm flipV="1">
              <a:off x="10898518" y="56053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14" name="Oval 413">
              <a:extLst>
                <a:ext uri="{FF2B5EF4-FFF2-40B4-BE49-F238E27FC236}">
                  <a16:creationId xmlns:a16="http://schemas.microsoft.com/office/drawing/2014/main" id="{D23CA6E0-CD8C-45BF-B78F-25FA749C2BA9}"/>
                </a:ext>
              </a:extLst>
            </p:cNvPr>
            <p:cNvSpPr/>
            <p:nvPr/>
          </p:nvSpPr>
          <p:spPr>
            <a:xfrm flipV="1">
              <a:off x="10975639" y="56053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15" name="Oval 414">
              <a:extLst>
                <a:ext uri="{FF2B5EF4-FFF2-40B4-BE49-F238E27FC236}">
                  <a16:creationId xmlns:a16="http://schemas.microsoft.com/office/drawing/2014/main" id="{02D3E10A-6091-41D2-BE44-3D4166B27E92}"/>
                </a:ext>
              </a:extLst>
            </p:cNvPr>
            <p:cNvSpPr/>
            <p:nvPr/>
          </p:nvSpPr>
          <p:spPr>
            <a:xfrm flipV="1">
              <a:off x="10937078" y="62759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16" name="Oval 415">
              <a:extLst>
                <a:ext uri="{FF2B5EF4-FFF2-40B4-BE49-F238E27FC236}">
                  <a16:creationId xmlns:a16="http://schemas.microsoft.com/office/drawing/2014/main" id="{0FE50323-9715-4B4E-8165-C06106D6DA76}"/>
                </a:ext>
              </a:extLst>
            </p:cNvPr>
            <p:cNvSpPr/>
            <p:nvPr/>
          </p:nvSpPr>
          <p:spPr>
            <a:xfrm>
              <a:off x="10715227" y="63078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17" name="Oval 416">
              <a:extLst>
                <a:ext uri="{FF2B5EF4-FFF2-40B4-BE49-F238E27FC236}">
                  <a16:creationId xmlns:a16="http://schemas.microsoft.com/office/drawing/2014/main" id="{E1A5D22D-3876-4DA0-951D-BB8F62A9BD30}"/>
                </a:ext>
              </a:extLst>
            </p:cNvPr>
            <p:cNvSpPr/>
            <p:nvPr/>
          </p:nvSpPr>
          <p:spPr>
            <a:xfrm>
              <a:off x="10675285" y="563725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18" name="Oval 417">
              <a:extLst>
                <a:ext uri="{FF2B5EF4-FFF2-40B4-BE49-F238E27FC236}">
                  <a16:creationId xmlns:a16="http://schemas.microsoft.com/office/drawing/2014/main" id="{3E5E2F40-63E7-4D4E-9B2A-BCB63D67481E}"/>
                </a:ext>
              </a:extLst>
            </p:cNvPr>
            <p:cNvSpPr/>
            <p:nvPr/>
          </p:nvSpPr>
          <p:spPr>
            <a:xfrm>
              <a:off x="10752406" y="563725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19" name="Oval 418">
              <a:extLst>
                <a:ext uri="{FF2B5EF4-FFF2-40B4-BE49-F238E27FC236}">
                  <a16:creationId xmlns:a16="http://schemas.microsoft.com/office/drawing/2014/main" id="{5BC33E73-44AC-4A45-ACDA-45A6D993ACA3}"/>
                </a:ext>
              </a:extLst>
            </p:cNvPr>
            <p:cNvSpPr/>
            <p:nvPr/>
          </p:nvSpPr>
          <p:spPr>
            <a:xfrm>
              <a:off x="10713845" y="49666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20" name="Oval 419">
              <a:extLst>
                <a:ext uri="{FF2B5EF4-FFF2-40B4-BE49-F238E27FC236}">
                  <a16:creationId xmlns:a16="http://schemas.microsoft.com/office/drawing/2014/main" id="{CC181508-9396-4CA4-AB8A-D606956B6BD4}"/>
                </a:ext>
              </a:extLst>
            </p:cNvPr>
            <p:cNvSpPr/>
            <p:nvPr/>
          </p:nvSpPr>
          <p:spPr>
            <a:xfrm>
              <a:off x="10796061" y="49666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21" name="Oval 420">
              <a:extLst>
                <a:ext uri="{FF2B5EF4-FFF2-40B4-BE49-F238E27FC236}">
                  <a16:creationId xmlns:a16="http://schemas.microsoft.com/office/drawing/2014/main" id="{EB7B3939-AC33-4AE0-AEC8-D0DDE7768CF8}"/>
                </a:ext>
              </a:extLst>
            </p:cNvPr>
            <p:cNvSpPr/>
            <p:nvPr/>
          </p:nvSpPr>
          <p:spPr>
            <a:xfrm>
              <a:off x="10634177" y="49632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22" name="Oval 421">
              <a:extLst>
                <a:ext uri="{FF2B5EF4-FFF2-40B4-BE49-F238E27FC236}">
                  <a16:creationId xmlns:a16="http://schemas.microsoft.com/office/drawing/2014/main" id="{57D14A32-94C1-4B08-8253-D50DB31C7681}"/>
                </a:ext>
              </a:extLst>
            </p:cNvPr>
            <p:cNvSpPr/>
            <p:nvPr/>
          </p:nvSpPr>
          <p:spPr>
            <a:xfrm>
              <a:off x="10600819" y="42219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23" name="Oval 422">
              <a:extLst>
                <a:ext uri="{FF2B5EF4-FFF2-40B4-BE49-F238E27FC236}">
                  <a16:creationId xmlns:a16="http://schemas.microsoft.com/office/drawing/2014/main" id="{FF331087-10ED-4AC5-88BA-2282F904B46F}"/>
                </a:ext>
              </a:extLst>
            </p:cNvPr>
            <p:cNvSpPr/>
            <p:nvPr/>
          </p:nvSpPr>
          <p:spPr>
            <a:xfrm>
              <a:off x="10560877" y="355126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24" name="Oval 423">
              <a:extLst>
                <a:ext uri="{FF2B5EF4-FFF2-40B4-BE49-F238E27FC236}">
                  <a16:creationId xmlns:a16="http://schemas.microsoft.com/office/drawing/2014/main" id="{B88ABEA2-E9B2-44E4-8197-3E65CBCF3AB2}"/>
                </a:ext>
              </a:extLst>
            </p:cNvPr>
            <p:cNvSpPr/>
            <p:nvPr/>
          </p:nvSpPr>
          <p:spPr>
            <a:xfrm>
              <a:off x="10637998" y="355126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25" name="Oval 424">
              <a:extLst>
                <a:ext uri="{FF2B5EF4-FFF2-40B4-BE49-F238E27FC236}">
                  <a16:creationId xmlns:a16="http://schemas.microsoft.com/office/drawing/2014/main" id="{09C39A25-C453-4DFC-8206-E0DEE3B7F47B}"/>
                </a:ext>
              </a:extLst>
            </p:cNvPr>
            <p:cNvSpPr/>
            <p:nvPr/>
          </p:nvSpPr>
          <p:spPr>
            <a:xfrm>
              <a:off x="10833795" y="42421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26" name="Oval 425">
              <a:extLst>
                <a:ext uri="{FF2B5EF4-FFF2-40B4-BE49-F238E27FC236}">
                  <a16:creationId xmlns:a16="http://schemas.microsoft.com/office/drawing/2014/main" id="{F658E93D-CFF3-4FFB-A2BB-9DAA987E7794}"/>
                </a:ext>
              </a:extLst>
            </p:cNvPr>
            <p:cNvSpPr/>
            <p:nvPr/>
          </p:nvSpPr>
          <p:spPr>
            <a:xfrm>
              <a:off x="10793853" y="357155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27" name="Oval 426">
              <a:extLst>
                <a:ext uri="{FF2B5EF4-FFF2-40B4-BE49-F238E27FC236}">
                  <a16:creationId xmlns:a16="http://schemas.microsoft.com/office/drawing/2014/main" id="{6FE2A0EF-1B7E-4553-95CE-FAB27CDB40CD}"/>
                </a:ext>
              </a:extLst>
            </p:cNvPr>
            <p:cNvSpPr/>
            <p:nvPr/>
          </p:nvSpPr>
          <p:spPr>
            <a:xfrm>
              <a:off x="10870974" y="357155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28" name="Oval 427">
              <a:extLst>
                <a:ext uri="{FF2B5EF4-FFF2-40B4-BE49-F238E27FC236}">
                  <a16:creationId xmlns:a16="http://schemas.microsoft.com/office/drawing/2014/main" id="{CC176C8A-6A54-48BD-9C59-9521521B6D4F}"/>
                </a:ext>
              </a:extLst>
            </p:cNvPr>
            <p:cNvSpPr/>
            <p:nvPr/>
          </p:nvSpPr>
          <p:spPr>
            <a:xfrm>
              <a:off x="10676793" y="42943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29" name="Oval 428">
              <a:extLst>
                <a:ext uri="{FF2B5EF4-FFF2-40B4-BE49-F238E27FC236}">
                  <a16:creationId xmlns:a16="http://schemas.microsoft.com/office/drawing/2014/main" id="{D2369127-3CD2-41F5-B335-6DEBF4E393CE}"/>
                </a:ext>
              </a:extLst>
            </p:cNvPr>
            <p:cNvSpPr/>
            <p:nvPr/>
          </p:nvSpPr>
          <p:spPr>
            <a:xfrm>
              <a:off x="10753914" y="42943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30" name="Oval 429">
              <a:extLst>
                <a:ext uri="{FF2B5EF4-FFF2-40B4-BE49-F238E27FC236}">
                  <a16:creationId xmlns:a16="http://schemas.microsoft.com/office/drawing/2014/main" id="{C100E2E5-91D0-4D81-881E-CEED82501BD2}"/>
                </a:ext>
              </a:extLst>
            </p:cNvPr>
            <p:cNvSpPr/>
            <p:nvPr/>
          </p:nvSpPr>
          <p:spPr>
            <a:xfrm>
              <a:off x="10715353" y="36236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grpSp>
          <p:nvGrpSpPr>
            <p:cNvPr id="431" name="Group 430">
              <a:extLst>
                <a:ext uri="{FF2B5EF4-FFF2-40B4-BE49-F238E27FC236}">
                  <a16:creationId xmlns:a16="http://schemas.microsoft.com/office/drawing/2014/main" id="{ED2E1631-6657-42E6-8BCB-EAFB0E307F51}"/>
                </a:ext>
              </a:extLst>
            </p:cNvPr>
            <p:cNvGrpSpPr/>
            <p:nvPr/>
          </p:nvGrpSpPr>
          <p:grpSpPr>
            <a:xfrm>
              <a:off x="11009880" y="352028"/>
              <a:ext cx="471981" cy="420185"/>
              <a:chOff x="12727684" y="3839973"/>
              <a:chExt cx="471981" cy="420185"/>
            </a:xfrm>
          </p:grpSpPr>
          <p:sp>
            <p:nvSpPr>
              <p:cNvPr id="432" name="Oval 431">
                <a:extLst>
                  <a:ext uri="{FF2B5EF4-FFF2-40B4-BE49-F238E27FC236}">
                    <a16:creationId xmlns:a16="http://schemas.microsoft.com/office/drawing/2014/main" id="{FCE1D237-4EF2-4531-8234-FBD8AE63763E}"/>
                  </a:ext>
                </a:extLst>
              </p:cNvPr>
              <p:cNvSpPr/>
              <p:nvPr/>
            </p:nvSpPr>
            <p:spPr>
              <a:xfrm>
                <a:off x="12923142" y="4183037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33" name="Oval 432">
                <a:extLst>
                  <a:ext uri="{FF2B5EF4-FFF2-40B4-BE49-F238E27FC236}">
                    <a16:creationId xmlns:a16="http://schemas.microsoft.com/office/drawing/2014/main" id="{90A10BCE-681B-4F62-81A4-D716F7B88F50}"/>
                  </a:ext>
                </a:extLst>
              </p:cNvPr>
              <p:cNvSpPr/>
              <p:nvPr/>
            </p:nvSpPr>
            <p:spPr>
              <a:xfrm>
                <a:off x="12883200" y="4115973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34" name="Oval 433">
                <a:extLst>
                  <a:ext uri="{FF2B5EF4-FFF2-40B4-BE49-F238E27FC236}">
                    <a16:creationId xmlns:a16="http://schemas.microsoft.com/office/drawing/2014/main" id="{1E1F1553-AD69-482D-9C29-920FBB43EC3D}"/>
                  </a:ext>
                </a:extLst>
              </p:cNvPr>
              <p:cNvSpPr/>
              <p:nvPr/>
            </p:nvSpPr>
            <p:spPr>
              <a:xfrm>
                <a:off x="12960321" y="4115973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35" name="Oval 434">
                <a:extLst>
                  <a:ext uri="{FF2B5EF4-FFF2-40B4-BE49-F238E27FC236}">
                    <a16:creationId xmlns:a16="http://schemas.microsoft.com/office/drawing/2014/main" id="{0D2193FF-A1D5-4A63-A44E-5B1EF0FF56FE}"/>
                  </a:ext>
                </a:extLst>
              </p:cNvPr>
              <p:cNvSpPr/>
              <p:nvPr/>
            </p:nvSpPr>
            <p:spPr>
              <a:xfrm>
                <a:off x="12921760" y="4048909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36" name="Oval 435">
                <a:extLst>
                  <a:ext uri="{FF2B5EF4-FFF2-40B4-BE49-F238E27FC236}">
                    <a16:creationId xmlns:a16="http://schemas.microsoft.com/office/drawing/2014/main" id="{FDBAD6CE-FC36-474E-A1F6-3BEA39CC0902}"/>
                  </a:ext>
                </a:extLst>
              </p:cNvPr>
              <p:cNvSpPr/>
              <p:nvPr/>
            </p:nvSpPr>
            <p:spPr>
              <a:xfrm>
                <a:off x="13003976" y="4048908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37" name="Oval 436">
                <a:extLst>
                  <a:ext uri="{FF2B5EF4-FFF2-40B4-BE49-F238E27FC236}">
                    <a16:creationId xmlns:a16="http://schemas.microsoft.com/office/drawing/2014/main" id="{434A9BCB-98BB-4698-8B4D-4FD915C72670}"/>
                  </a:ext>
                </a:extLst>
              </p:cNvPr>
              <p:cNvSpPr/>
              <p:nvPr/>
            </p:nvSpPr>
            <p:spPr>
              <a:xfrm>
                <a:off x="12842092" y="4048572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38" name="Oval 437">
                <a:extLst>
                  <a:ext uri="{FF2B5EF4-FFF2-40B4-BE49-F238E27FC236}">
                    <a16:creationId xmlns:a16="http://schemas.microsoft.com/office/drawing/2014/main" id="{A5372159-CDC5-4F4B-8F51-D2928C12EC1D}"/>
                  </a:ext>
                </a:extLst>
              </p:cNvPr>
              <p:cNvSpPr/>
              <p:nvPr/>
            </p:nvSpPr>
            <p:spPr>
              <a:xfrm>
                <a:off x="12808734" y="3974438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39" name="Oval 438">
                <a:extLst>
                  <a:ext uri="{FF2B5EF4-FFF2-40B4-BE49-F238E27FC236}">
                    <a16:creationId xmlns:a16="http://schemas.microsoft.com/office/drawing/2014/main" id="{E885AF73-91CB-4F79-84C9-83AD3B725747}"/>
                  </a:ext>
                </a:extLst>
              </p:cNvPr>
              <p:cNvSpPr/>
              <p:nvPr/>
            </p:nvSpPr>
            <p:spPr>
              <a:xfrm>
                <a:off x="12768792" y="3907374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40" name="Oval 439">
                <a:extLst>
                  <a:ext uri="{FF2B5EF4-FFF2-40B4-BE49-F238E27FC236}">
                    <a16:creationId xmlns:a16="http://schemas.microsoft.com/office/drawing/2014/main" id="{7B7AA83F-2C71-427D-BD1A-FAA786FEB48F}"/>
                  </a:ext>
                </a:extLst>
              </p:cNvPr>
              <p:cNvSpPr/>
              <p:nvPr/>
            </p:nvSpPr>
            <p:spPr>
              <a:xfrm>
                <a:off x="12845913" y="3907374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41" name="Oval 440">
                <a:extLst>
                  <a:ext uri="{FF2B5EF4-FFF2-40B4-BE49-F238E27FC236}">
                    <a16:creationId xmlns:a16="http://schemas.microsoft.com/office/drawing/2014/main" id="{83ABF022-688B-454F-AD66-A32B04B874F3}"/>
                  </a:ext>
                </a:extLst>
              </p:cNvPr>
              <p:cNvSpPr/>
              <p:nvPr/>
            </p:nvSpPr>
            <p:spPr>
              <a:xfrm>
                <a:off x="12807352" y="3840310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42" name="Oval 441">
                <a:extLst>
                  <a:ext uri="{FF2B5EF4-FFF2-40B4-BE49-F238E27FC236}">
                    <a16:creationId xmlns:a16="http://schemas.microsoft.com/office/drawing/2014/main" id="{7E1ADD8F-DD01-4FF7-AAF3-D046C57B2DA8}"/>
                  </a:ext>
                </a:extLst>
              </p:cNvPr>
              <p:cNvSpPr/>
              <p:nvPr/>
            </p:nvSpPr>
            <p:spPr>
              <a:xfrm>
                <a:off x="12883532" y="3840309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43" name="Oval 442">
                <a:extLst>
                  <a:ext uri="{FF2B5EF4-FFF2-40B4-BE49-F238E27FC236}">
                    <a16:creationId xmlns:a16="http://schemas.microsoft.com/office/drawing/2014/main" id="{95E2B750-5221-400F-A5FD-5FF719E6EFED}"/>
                  </a:ext>
                </a:extLst>
              </p:cNvPr>
              <p:cNvSpPr/>
              <p:nvPr/>
            </p:nvSpPr>
            <p:spPr>
              <a:xfrm>
                <a:off x="12727684" y="3839973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44" name="Oval 443">
                <a:extLst>
                  <a:ext uri="{FF2B5EF4-FFF2-40B4-BE49-F238E27FC236}">
                    <a16:creationId xmlns:a16="http://schemas.microsoft.com/office/drawing/2014/main" id="{E9D5BAFB-D9A5-45A1-B1D1-6F8C6DEBAA19}"/>
                  </a:ext>
                </a:extLst>
              </p:cNvPr>
              <p:cNvSpPr/>
              <p:nvPr/>
            </p:nvSpPr>
            <p:spPr>
              <a:xfrm>
                <a:off x="13041710" y="3976467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45" name="Oval 444">
                <a:extLst>
                  <a:ext uri="{FF2B5EF4-FFF2-40B4-BE49-F238E27FC236}">
                    <a16:creationId xmlns:a16="http://schemas.microsoft.com/office/drawing/2014/main" id="{F52F067C-2F6E-4224-954F-9C3D94D45883}"/>
                  </a:ext>
                </a:extLst>
              </p:cNvPr>
              <p:cNvSpPr/>
              <p:nvPr/>
            </p:nvSpPr>
            <p:spPr>
              <a:xfrm>
                <a:off x="13001768" y="3909403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46" name="Oval 445">
                <a:extLst>
                  <a:ext uri="{FF2B5EF4-FFF2-40B4-BE49-F238E27FC236}">
                    <a16:creationId xmlns:a16="http://schemas.microsoft.com/office/drawing/2014/main" id="{C12AEE08-8A6F-4A41-8B5F-EC0648C6A043}"/>
                  </a:ext>
                </a:extLst>
              </p:cNvPr>
              <p:cNvSpPr/>
              <p:nvPr/>
            </p:nvSpPr>
            <p:spPr>
              <a:xfrm>
                <a:off x="13078889" y="3909403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47" name="Oval 446">
                <a:extLst>
                  <a:ext uri="{FF2B5EF4-FFF2-40B4-BE49-F238E27FC236}">
                    <a16:creationId xmlns:a16="http://schemas.microsoft.com/office/drawing/2014/main" id="{31647E54-4597-4FB9-A11C-0C49F938B0F1}"/>
                  </a:ext>
                </a:extLst>
              </p:cNvPr>
              <p:cNvSpPr/>
              <p:nvPr/>
            </p:nvSpPr>
            <p:spPr>
              <a:xfrm>
                <a:off x="13040328" y="3842339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48" name="Oval 447">
                <a:extLst>
                  <a:ext uri="{FF2B5EF4-FFF2-40B4-BE49-F238E27FC236}">
                    <a16:creationId xmlns:a16="http://schemas.microsoft.com/office/drawing/2014/main" id="{160D35ED-8D56-437A-9F8A-DBE2BC5BC2EA}"/>
                  </a:ext>
                </a:extLst>
              </p:cNvPr>
              <p:cNvSpPr/>
              <p:nvPr/>
            </p:nvSpPr>
            <p:spPr>
              <a:xfrm>
                <a:off x="13122544" y="3842338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49" name="Oval 448">
                <a:extLst>
                  <a:ext uri="{FF2B5EF4-FFF2-40B4-BE49-F238E27FC236}">
                    <a16:creationId xmlns:a16="http://schemas.microsoft.com/office/drawing/2014/main" id="{FEE57E58-6B38-4747-A5D7-BC84C04A2CF7}"/>
                  </a:ext>
                </a:extLst>
              </p:cNvPr>
              <p:cNvSpPr/>
              <p:nvPr/>
            </p:nvSpPr>
            <p:spPr>
              <a:xfrm>
                <a:off x="12960660" y="3842002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50" name="Oval 449">
                <a:extLst>
                  <a:ext uri="{FF2B5EF4-FFF2-40B4-BE49-F238E27FC236}">
                    <a16:creationId xmlns:a16="http://schemas.microsoft.com/office/drawing/2014/main" id="{2C371CAC-ED1A-49A0-A73A-912E0EE95BFA}"/>
                  </a:ext>
                </a:extLst>
              </p:cNvPr>
              <p:cNvSpPr/>
              <p:nvPr/>
            </p:nvSpPr>
            <p:spPr>
              <a:xfrm>
                <a:off x="12884708" y="3981681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51" name="Oval 450">
                <a:extLst>
                  <a:ext uri="{FF2B5EF4-FFF2-40B4-BE49-F238E27FC236}">
                    <a16:creationId xmlns:a16="http://schemas.microsoft.com/office/drawing/2014/main" id="{BEEAD026-6409-4CEA-8C30-0E25C9594595}"/>
                  </a:ext>
                </a:extLst>
              </p:cNvPr>
              <p:cNvSpPr/>
              <p:nvPr/>
            </p:nvSpPr>
            <p:spPr>
              <a:xfrm>
                <a:off x="12961829" y="3981681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52" name="Oval 451">
                <a:extLst>
                  <a:ext uri="{FF2B5EF4-FFF2-40B4-BE49-F238E27FC236}">
                    <a16:creationId xmlns:a16="http://schemas.microsoft.com/office/drawing/2014/main" id="{2F193A93-ADEB-4989-AF57-2705E5820875}"/>
                  </a:ext>
                </a:extLst>
              </p:cNvPr>
              <p:cNvSpPr/>
              <p:nvPr/>
            </p:nvSpPr>
            <p:spPr>
              <a:xfrm>
                <a:off x="12923268" y="3914617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453" name="Oval 452">
              <a:extLst>
                <a:ext uri="{FF2B5EF4-FFF2-40B4-BE49-F238E27FC236}">
                  <a16:creationId xmlns:a16="http://schemas.microsoft.com/office/drawing/2014/main" id="{2E34A485-DA1A-4EAA-B339-3CEFE832F2D4}"/>
                </a:ext>
              </a:extLst>
            </p:cNvPr>
            <p:cNvSpPr/>
            <p:nvPr/>
          </p:nvSpPr>
          <p:spPr>
            <a:xfrm>
              <a:off x="10972834" y="97477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54" name="Oval 453">
              <a:extLst>
                <a:ext uri="{FF2B5EF4-FFF2-40B4-BE49-F238E27FC236}">
                  <a16:creationId xmlns:a16="http://schemas.microsoft.com/office/drawing/2014/main" id="{58BCFC4A-5796-4973-A191-4CA0832E9807}"/>
                </a:ext>
              </a:extLst>
            </p:cNvPr>
            <p:cNvSpPr/>
            <p:nvPr/>
          </p:nvSpPr>
          <p:spPr>
            <a:xfrm>
              <a:off x="11055050" y="97477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55" name="Oval 454">
              <a:extLst>
                <a:ext uri="{FF2B5EF4-FFF2-40B4-BE49-F238E27FC236}">
                  <a16:creationId xmlns:a16="http://schemas.microsoft.com/office/drawing/2014/main" id="{FA6FD150-F1D9-45D8-AEAD-640D9623FD2C}"/>
                </a:ext>
              </a:extLst>
            </p:cNvPr>
            <p:cNvSpPr/>
            <p:nvPr/>
          </p:nvSpPr>
          <p:spPr>
            <a:xfrm>
              <a:off x="10893166" y="97443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56" name="Oval 455">
              <a:extLst>
                <a:ext uri="{FF2B5EF4-FFF2-40B4-BE49-F238E27FC236}">
                  <a16:creationId xmlns:a16="http://schemas.microsoft.com/office/drawing/2014/main" id="{9EB5EF37-870E-4A95-810F-7159A5319C4B}"/>
                </a:ext>
              </a:extLst>
            </p:cNvPr>
            <p:cNvSpPr/>
            <p:nvPr/>
          </p:nvSpPr>
          <p:spPr>
            <a:xfrm>
              <a:off x="10859808" y="90030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57" name="Oval 456">
              <a:extLst>
                <a:ext uri="{FF2B5EF4-FFF2-40B4-BE49-F238E27FC236}">
                  <a16:creationId xmlns:a16="http://schemas.microsoft.com/office/drawing/2014/main" id="{8B5DA9BC-B94A-4FE9-9A02-30081D72449C}"/>
                </a:ext>
              </a:extLst>
            </p:cNvPr>
            <p:cNvSpPr/>
            <p:nvPr/>
          </p:nvSpPr>
          <p:spPr>
            <a:xfrm>
              <a:off x="10819866" y="83323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58" name="Oval 457">
              <a:extLst>
                <a:ext uri="{FF2B5EF4-FFF2-40B4-BE49-F238E27FC236}">
                  <a16:creationId xmlns:a16="http://schemas.microsoft.com/office/drawing/2014/main" id="{AFEA6D57-EF97-40B2-9774-987C2D8634E6}"/>
                </a:ext>
              </a:extLst>
            </p:cNvPr>
            <p:cNvSpPr/>
            <p:nvPr/>
          </p:nvSpPr>
          <p:spPr>
            <a:xfrm>
              <a:off x="10896987" y="83323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59" name="Oval 458">
              <a:extLst>
                <a:ext uri="{FF2B5EF4-FFF2-40B4-BE49-F238E27FC236}">
                  <a16:creationId xmlns:a16="http://schemas.microsoft.com/office/drawing/2014/main" id="{9D1A17EE-75C4-48B3-ACDF-9368D0513D0D}"/>
                </a:ext>
              </a:extLst>
            </p:cNvPr>
            <p:cNvSpPr/>
            <p:nvPr/>
          </p:nvSpPr>
          <p:spPr>
            <a:xfrm>
              <a:off x="10858426" y="766175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60" name="Oval 459">
              <a:extLst>
                <a:ext uri="{FF2B5EF4-FFF2-40B4-BE49-F238E27FC236}">
                  <a16:creationId xmlns:a16="http://schemas.microsoft.com/office/drawing/2014/main" id="{E8EB8DB0-2BEE-406A-BB66-C5BDCB4677EB}"/>
                </a:ext>
              </a:extLst>
            </p:cNvPr>
            <p:cNvSpPr/>
            <p:nvPr/>
          </p:nvSpPr>
          <p:spPr>
            <a:xfrm>
              <a:off x="10934606" y="76617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61" name="Oval 460">
              <a:extLst>
                <a:ext uri="{FF2B5EF4-FFF2-40B4-BE49-F238E27FC236}">
                  <a16:creationId xmlns:a16="http://schemas.microsoft.com/office/drawing/2014/main" id="{D457A04D-34A4-4CC0-9230-C2E4C97EF6F3}"/>
                </a:ext>
              </a:extLst>
            </p:cNvPr>
            <p:cNvSpPr/>
            <p:nvPr/>
          </p:nvSpPr>
          <p:spPr>
            <a:xfrm>
              <a:off x="10778758" y="76583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62" name="Oval 461">
              <a:extLst>
                <a:ext uri="{FF2B5EF4-FFF2-40B4-BE49-F238E27FC236}">
                  <a16:creationId xmlns:a16="http://schemas.microsoft.com/office/drawing/2014/main" id="{0781760B-9657-405D-8A18-579CFBB973BA}"/>
                </a:ext>
              </a:extLst>
            </p:cNvPr>
            <p:cNvSpPr/>
            <p:nvPr/>
          </p:nvSpPr>
          <p:spPr>
            <a:xfrm>
              <a:off x="11092784" y="90233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63" name="Oval 462">
              <a:extLst>
                <a:ext uri="{FF2B5EF4-FFF2-40B4-BE49-F238E27FC236}">
                  <a16:creationId xmlns:a16="http://schemas.microsoft.com/office/drawing/2014/main" id="{2A3785AE-A160-4B72-89F8-48EACE3BD1EE}"/>
                </a:ext>
              </a:extLst>
            </p:cNvPr>
            <p:cNvSpPr/>
            <p:nvPr/>
          </p:nvSpPr>
          <p:spPr>
            <a:xfrm>
              <a:off x="11052842" y="83526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64" name="Oval 463">
              <a:extLst>
                <a:ext uri="{FF2B5EF4-FFF2-40B4-BE49-F238E27FC236}">
                  <a16:creationId xmlns:a16="http://schemas.microsoft.com/office/drawing/2014/main" id="{4F0A5A15-B0B9-4934-8C58-4075B7D46861}"/>
                </a:ext>
              </a:extLst>
            </p:cNvPr>
            <p:cNvSpPr/>
            <p:nvPr/>
          </p:nvSpPr>
          <p:spPr>
            <a:xfrm>
              <a:off x="11129963" y="83526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65" name="Oval 464">
              <a:extLst>
                <a:ext uri="{FF2B5EF4-FFF2-40B4-BE49-F238E27FC236}">
                  <a16:creationId xmlns:a16="http://schemas.microsoft.com/office/drawing/2014/main" id="{4FD76BF5-F925-4211-9372-9946A573C079}"/>
                </a:ext>
              </a:extLst>
            </p:cNvPr>
            <p:cNvSpPr/>
            <p:nvPr/>
          </p:nvSpPr>
          <p:spPr>
            <a:xfrm>
              <a:off x="11091402" y="76820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66" name="Oval 465">
              <a:extLst>
                <a:ext uri="{FF2B5EF4-FFF2-40B4-BE49-F238E27FC236}">
                  <a16:creationId xmlns:a16="http://schemas.microsoft.com/office/drawing/2014/main" id="{85EB8CA7-22C8-4428-B75B-27786E85FF21}"/>
                </a:ext>
              </a:extLst>
            </p:cNvPr>
            <p:cNvSpPr/>
            <p:nvPr/>
          </p:nvSpPr>
          <p:spPr>
            <a:xfrm>
              <a:off x="11173618" y="76820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67" name="Oval 466">
              <a:extLst>
                <a:ext uri="{FF2B5EF4-FFF2-40B4-BE49-F238E27FC236}">
                  <a16:creationId xmlns:a16="http://schemas.microsoft.com/office/drawing/2014/main" id="{D623B179-D06E-44AA-8A9E-9B1E6968F0C4}"/>
                </a:ext>
              </a:extLst>
            </p:cNvPr>
            <p:cNvSpPr/>
            <p:nvPr/>
          </p:nvSpPr>
          <p:spPr>
            <a:xfrm>
              <a:off x="11011734" y="76786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68" name="Oval 467">
              <a:extLst>
                <a:ext uri="{FF2B5EF4-FFF2-40B4-BE49-F238E27FC236}">
                  <a16:creationId xmlns:a16="http://schemas.microsoft.com/office/drawing/2014/main" id="{A0F2FEC4-7608-4531-BA9C-6D4DB36BC81D}"/>
                </a:ext>
              </a:extLst>
            </p:cNvPr>
            <p:cNvSpPr/>
            <p:nvPr/>
          </p:nvSpPr>
          <p:spPr>
            <a:xfrm>
              <a:off x="10935782" y="907546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69" name="Oval 468">
              <a:extLst>
                <a:ext uri="{FF2B5EF4-FFF2-40B4-BE49-F238E27FC236}">
                  <a16:creationId xmlns:a16="http://schemas.microsoft.com/office/drawing/2014/main" id="{963B8CBC-CD15-4FD2-BBAF-5E86233F4C4B}"/>
                </a:ext>
              </a:extLst>
            </p:cNvPr>
            <p:cNvSpPr/>
            <p:nvPr/>
          </p:nvSpPr>
          <p:spPr>
            <a:xfrm>
              <a:off x="11012903" y="907546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70" name="Oval 469">
              <a:extLst>
                <a:ext uri="{FF2B5EF4-FFF2-40B4-BE49-F238E27FC236}">
                  <a16:creationId xmlns:a16="http://schemas.microsoft.com/office/drawing/2014/main" id="{C80B880F-BDC4-470B-BF0F-6CCD43FE2D63}"/>
                </a:ext>
              </a:extLst>
            </p:cNvPr>
            <p:cNvSpPr/>
            <p:nvPr/>
          </p:nvSpPr>
          <p:spPr>
            <a:xfrm>
              <a:off x="10974342" y="84048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72" name="Oval 471">
              <a:extLst>
                <a:ext uri="{FF2B5EF4-FFF2-40B4-BE49-F238E27FC236}">
                  <a16:creationId xmlns:a16="http://schemas.microsoft.com/office/drawing/2014/main" id="{C96AB1B8-20EF-4F85-98A5-FA7A463F29AF}"/>
                </a:ext>
              </a:extLst>
            </p:cNvPr>
            <p:cNvSpPr/>
            <p:nvPr/>
          </p:nvSpPr>
          <p:spPr>
            <a:xfrm flipV="1">
              <a:off x="10934679" y="103872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73" name="Oval 472">
              <a:extLst>
                <a:ext uri="{FF2B5EF4-FFF2-40B4-BE49-F238E27FC236}">
                  <a16:creationId xmlns:a16="http://schemas.microsoft.com/office/drawing/2014/main" id="{9C03D21A-AEF2-44BD-BFD4-8F294B5B6AA7}"/>
                </a:ext>
              </a:extLst>
            </p:cNvPr>
            <p:cNvSpPr/>
            <p:nvPr/>
          </p:nvSpPr>
          <p:spPr>
            <a:xfrm flipV="1">
              <a:off x="11011800" y="103872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74" name="Oval 473">
              <a:extLst>
                <a:ext uri="{FF2B5EF4-FFF2-40B4-BE49-F238E27FC236}">
                  <a16:creationId xmlns:a16="http://schemas.microsoft.com/office/drawing/2014/main" id="{2E0348E3-3BFF-45B7-9F66-5864B64F3F3B}"/>
                </a:ext>
              </a:extLst>
            </p:cNvPr>
            <p:cNvSpPr/>
            <p:nvPr/>
          </p:nvSpPr>
          <p:spPr>
            <a:xfrm flipV="1">
              <a:off x="10973239" y="110579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75" name="Oval 474">
              <a:extLst>
                <a:ext uri="{FF2B5EF4-FFF2-40B4-BE49-F238E27FC236}">
                  <a16:creationId xmlns:a16="http://schemas.microsoft.com/office/drawing/2014/main" id="{53FA66D6-A782-4DEE-B7CD-CE185DAFD0FA}"/>
                </a:ext>
              </a:extLst>
            </p:cNvPr>
            <p:cNvSpPr/>
            <p:nvPr/>
          </p:nvSpPr>
          <p:spPr>
            <a:xfrm flipV="1">
              <a:off x="11055455" y="110579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76" name="Oval 475">
              <a:extLst>
                <a:ext uri="{FF2B5EF4-FFF2-40B4-BE49-F238E27FC236}">
                  <a16:creationId xmlns:a16="http://schemas.microsoft.com/office/drawing/2014/main" id="{28625D1B-A059-4FDA-AA88-9C76E148B4C1}"/>
                </a:ext>
              </a:extLst>
            </p:cNvPr>
            <p:cNvSpPr/>
            <p:nvPr/>
          </p:nvSpPr>
          <p:spPr>
            <a:xfrm flipV="1">
              <a:off x="10893571" y="110612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81" name="Oval 480">
              <a:extLst>
                <a:ext uri="{FF2B5EF4-FFF2-40B4-BE49-F238E27FC236}">
                  <a16:creationId xmlns:a16="http://schemas.microsoft.com/office/drawing/2014/main" id="{C3D70563-4024-4C2F-9919-082977C7D988}"/>
                </a:ext>
              </a:extLst>
            </p:cNvPr>
            <p:cNvSpPr/>
            <p:nvPr/>
          </p:nvSpPr>
          <p:spPr>
            <a:xfrm flipV="1">
              <a:off x="10936187" y="117302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82" name="Oval 481">
              <a:extLst>
                <a:ext uri="{FF2B5EF4-FFF2-40B4-BE49-F238E27FC236}">
                  <a16:creationId xmlns:a16="http://schemas.microsoft.com/office/drawing/2014/main" id="{CEC27228-ADFE-4098-98F8-4C6D8E5E2145}"/>
                </a:ext>
              </a:extLst>
            </p:cNvPr>
            <p:cNvSpPr/>
            <p:nvPr/>
          </p:nvSpPr>
          <p:spPr>
            <a:xfrm flipV="1">
              <a:off x="11013308" y="117302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grpSp>
          <p:nvGrpSpPr>
            <p:cNvPr id="513" name="Group 512">
              <a:extLst>
                <a:ext uri="{FF2B5EF4-FFF2-40B4-BE49-F238E27FC236}">
                  <a16:creationId xmlns:a16="http://schemas.microsoft.com/office/drawing/2014/main" id="{9B47B17B-F7F5-45EB-9AFD-8B081BCAC93B}"/>
                </a:ext>
              </a:extLst>
            </p:cNvPr>
            <p:cNvGrpSpPr/>
            <p:nvPr/>
          </p:nvGrpSpPr>
          <p:grpSpPr>
            <a:xfrm>
              <a:off x="10897392" y="1240084"/>
              <a:ext cx="232976" cy="151429"/>
              <a:chOff x="10897392" y="1240084"/>
              <a:chExt cx="232976" cy="151429"/>
            </a:xfrm>
          </p:grpSpPr>
          <p:sp>
            <p:nvSpPr>
              <p:cNvPr id="477" name="Oval 476">
                <a:extLst>
                  <a:ext uri="{FF2B5EF4-FFF2-40B4-BE49-F238E27FC236}">
                    <a16:creationId xmlns:a16="http://schemas.microsoft.com/office/drawing/2014/main" id="{D5ADF87D-8707-401D-B7E6-9171196E5C17}"/>
                  </a:ext>
                </a:extLst>
              </p:cNvPr>
              <p:cNvSpPr/>
              <p:nvPr/>
            </p:nvSpPr>
            <p:spPr>
              <a:xfrm flipV="1">
                <a:off x="10897392" y="1247327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78" name="Oval 477">
                <a:extLst>
                  <a:ext uri="{FF2B5EF4-FFF2-40B4-BE49-F238E27FC236}">
                    <a16:creationId xmlns:a16="http://schemas.microsoft.com/office/drawing/2014/main" id="{40EE9783-CB7C-4965-9817-27469BF33058}"/>
                  </a:ext>
                </a:extLst>
              </p:cNvPr>
              <p:cNvSpPr/>
              <p:nvPr/>
            </p:nvSpPr>
            <p:spPr>
              <a:xfrm flipV="1">
                <a:off x="10935011" y="1314392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79" name="Oval 478">
                <a:extLst>
                  <a:ext uri="{FF2B5EF4-FFF2-40B4-BE49-F238E27FC236}">
                    <a16:creationId xmlns:a16="http://schemas.microsoft.com/office/drawing/2014/main" id="{E7D7F117-E2DD-40D0-907B-3521B9850E38}"/>
                  </a:ext>
                </a:extLst>
              </p:cNvPr>
              <p:cNvSpPr/>
              <p:nvPr/>
            </p:nvSpPr>
            <p:spPr>
              <a:xfrm flipV="1">
                <a:off x="11053247" y="1245298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80" name="Oval 479">
                <a:extLst>
                  <a:ext uri="{FF2B5EF4-FFF2-40B4-BE49-F238E27FC236}">
                    <a16:creationId xmlns:a16="http://schemas.microsoft.com/office/drawing/2014/main" id="{867C002E-7098-44D3-BE67-566FE3641895}"/>
                  </a:ext>
                </a:extLst>
              </p:cNvPr>
              <p:cNvSpPr/>
              <p:nvPr/>
            </p:nvSpPr>
            <p:spPr>
              <a:xfrm flipV="1">
                <a:off x="11012139" y="1312699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83" name="Oval 482">
                <a:extLst>
                  <a:ext uri="{FF2B5EF4-FFF2-40B4-BE49-F238E27FC236}">
                    <a16:creationId xmlns:a16="http://schemas.microsoft.com/office/drawing/2014/main" id="{ACD3A317-0E21-4ADC-B8B0-41E13DFF99EE}"/>
                  </a:ext>
                </a:extLst>
              </p:cNvPr>
              <p:cNvSpPr/>
              <p:nvPr/>
            </p:nvSpPr>
            <p:spPr>
              <a:xfrm flipV="1">
                <a:off x="10974747" y="1240084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</p:grpSp>
        <p:graphicFrame>
          <p:nvGraphicFramePr>
            <p:cNvPr id="508" name="Object 507">
              <a:extLst>
                <a:ext uri="{FF2B5EF4-FFF2-40B4-BE49-F238E27FC236}">
                  <a16:creationId xmlns:a16="http://schemas.microsoft.com/office/drawing/2014/main" id="{6068D498-7E7F-4705-BEA5-A1C04029FFCA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9057139" y="79056"/>
            <a:ext cx="2628900" cy="14097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7" imgW="2628122" imgH="1409631" progId="ChemDraw.Document.6.0">
                    <p:embed/>
                  </p:oleObj>
                </mc:Choice>
                <mc:Fallback>
                  <p:oleObj name="CS ChemDraw Drawing" r:id="rId17" imgW="2628122" imgH="1409631" progId="ChemDraw.Document.6.0">
                    <p:embed/>
                    <p:pic>
                      <p:nvPicPr>
                        <p:cNvPr id="508" name="Object 507">
                          <a:extLst>
                            <a:ext uri="{FF2B5EF4-FFF2-40B4-BE49-F238E27FC236}">
                              <a16:creationId xmlns:a16="http://schemas.microsoft.com/office/drawing/2014/main" id="{6068D498-7E7F-4705-BEA5-A1C04029FFCA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2"/>
                        <a:stretch>
                          <a:fillRect/>
                        </a:stretch>
                      </p:blipFill>
                      <p:spPr>
                        <a:xfrm>
                          <a:off x="9057139" y="79056"/>
                          <a:ext cx="2628900" cy="14097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514" name="Group 513">
            <a:extLst>
              <a:ext uri="{FF2B5EF4-FFF2-40B4-BE49-F238E27FC236}">
                <a16:creationId xmlns:a16="http://schemas.microsoft.com/office/drawing/2014/main" id="{2B78E734-4647-460A-AA77-C6A58AD507B4}"/>
              </a:ext>
            </a:extLst>
          </p:cNvPr>
          <p:cNvGrpSpPr/>
          <p:nvPr/>
        </p:nvGrpSpPr>
        <p:grpSpPr>
          <a:xfrm>
            <a:off x="8173712" y="1274777"/>
            <a:ext cx="174732" cy="113572"/>
            <a:chOff x="10897392" y="1240084"/>
            <a:chExt cx="232976" cy="151429"/>
          </a:xfrm>
        </p:grpSpPr>
        <p:sp>
          <p:nvSpPr>
            <p:cNvPr id="515" name="Oval 514">
              <a:extLst>
                <a:ext uri="{FF2B5EF4-FFF2-40B4-BE49-F238E27FC236}">
                  <a16:creationId xmlns:a16="http://schemas.microsoft.com/office/drawing/2014/main" id="{EB98CD8E-807E-4B7C-86D1-365391587C01}"/>
                </a:ext>
              </a:extLst>
            </p:cNvPr>
            <p:cNvSpPr/>
            <p:nvPr/>
          </p:nvSpPr>
          <p:spPr>
            <a:xfrm flipV="1">
              <a:off x="10897392" y="124732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516" name="Oval 515">
              <a:extLst>
                <a:ext uri="{FF2B5EF4-FFF2-40B4-BE49-F238E27FC236}">
                  <a16:creationId xmlns:a16="http://schemas.microsoft.com/office/drawing/2014/main" id="{446911E9-9912-446E-A105-482960F871D7}"/>
                </a:ext>
              </a:extLst>
            </p:cNvPr>
            <p:cNvSpPr/>
            <p:nvPr/>
          </p:nvSpPr>
          <p:spPr>
            <a:xfrm flipV="1">
              <a:off x="10935011" y="131439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517" name="Oval 516">
              <a:extLst>
                <a:ext uri="{FF2B5EF4-FFF2-40B4-BE49-F238E27FC236}">
                  <a16:creationId xmlns:a16="http://schemas.microsoft.com/office/drawing/2014/main" id="{ACDD4EDB-FE9E-4C6D-A7A8-E3B2E55E6D8D}"/>
                </a:ext>
              </a:extLst>
            </p:cNvPr>
            <p:cNvSpPr/>
            <p:nvPr/>
          </p:nvSpPr>
          <p:spPr>
            <a:xfrm flipV="1">
              <a:off x="11053247" y="124529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518" name="Oval 517">
              <a:extLst>
                <a:ext uri="{FF2B5EF4-FFF2-40B4-BE49-F238E27FC236}">
                  <a16:creationId xmlns:a16="http://schemas.microsoft.com/office/drawing/2014/main" id="{FAE9A543-64D8-4FDB-81E4-696F7BEA98A1}"/>
                </a:ext>
              </a:extLst>
            </p:cNvPr>
            <p:cNvSpPr/>
            <p:nvPr/>
          </p:nvSpPr>
          <p:spPr>
            <a:xfrm flipV="1">
              <a:off x="11012139" y="131269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519" name="Oval 518">
              <a:extLst>
                <a:ext uri="{FF2B5EF4-FFF2-40B4-BE49-F238E27FC236}">
                  <a16:creationId xmlns:a16="http://schemas.microsoft.com/office/drawing/2014/main" id="{44A49081-7426-475F-BFC2-BB1A3DEFDF62}"/>
                </a:ext>
              </a:extLst>
            </p:cNvPr>
            <p:cNvSpPr/>
            <p:nvPr/>
          </p:nvSpPr>
          <p:spPr>
            <a:xfrm flipV="1">
              <a:off x="10974747" y="124008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grpSp>
        <p:nvGrpSpPr>
          <p:cNvPr id="620" name="Group 619">
            <a:extLst>
              <a:ext uri="{FF2B5EF4-FFF2-40B4-BE49-F238E27FC236}">
                <a16:creationId xmlns:a16="http://schemas.microsoft.com/office/drawing/2014/main" id="{C6466B7E-6066-452B-9516-F068FC7DFE24}"/>
              </a:ext>
            </a:extLst>
          </p:cNvPr>
          <p:cNvGrpSpPr/>
          <p:nvPr/>
        </p:nvGrpSpPr>
        <p:grpSpPr>
          <a:xfrm>
            <a:off x="8208578" y="2021386"/>
            <a:ext cx="115687" cy="59111"/>
            <a:chOff x="10935011" y="1312699"/>
            <a:chExt cx="154249" cy="78814"/>
          </a:xfrm>
          <a:solidFill>
            <a:schemeClr val="tx2"/>
          </a:solidFill>
        </p:grpSpPr>
        <p:sp>
          <p:nvSpPr>
            <p:cNvPr id="622" name="Oval 621">
              <a:extLst>
                <a:ext uri="{FF2B5EF4-FFF2-40B4-BE49-F238E27FC236}">
                  <a16:creationId xmlns:a16="http://schemas.microsoft.com/office/drawing/2014/main" id="{FCD4176A-39D5-45F4-9177-BAAD248E3ADD}"/>
                </a:ext>
              </a:extLst>
            </p:cNvPr>
            <p:cNvSpPr/>
            <p:nvPr/>
          </p:nvSpPr>
          <p:spPr>
            <a:xfrm flipV="1">
              <a:off x="10935011" y="1314392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624" name="Oval 623">
              <a:extLst>
                <a:ext uri="{FF2B5EF4-FFF2-40B4-BE49-F238E27FC236}">
                  <a16:creationId xmlns:a16="http://schemas.microsoft.com/office/drawing/2014/main" id="{35B69FF1-5A68-4270-9CB6-A3B09B189A0D}"/>
                </a:ext>
              </a:extLst>
            </p:cNvPr>
            <p:cNvSpPr/>
            <p:nvPr/>
          </p:nvSpPr>
          <p:spPr>
            <a:xfrm flipV="1">
              <a:off x="11012139" y="1312699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grpSp>
        <p:nvGrpSpPr>
          <p:cNvPr id="626" name="Group 625">
            <a:extLst>
              <a:ext uri="{FF2B5EF4-FFF2-40B4-BE49-F238E27FC236}">
                <a16:creationId xmlns:a16="http://schemas.microsoft.com/office/drawing/2014/main" id="{AD0D6C0F-5005-445C-B0C3-3A65224F585B}"/>
              </a:ext>
            </a:extLst>
          </p:cNvPr>
          <p:cNvGrpSpPr/>
          <p:nvPr/>
        </p:nvGrpSpPr>
        <p:grpSpPr>
          <a:xfrm>
            <a:off x="8180363" y="1962564"/>
            <a:ext cx="174732" cy="63273"/>
            <a:chOff x="10897392" y="1240084"/>
            <a:chExt cx="232976" cy="84364"/>
          </a:xfrm>
        </p:grpSpPr>
        <p:sp>
          <p:nvSpPr>
            <p:cNvPr id="627" name="Oval 626">
              <a:extLst>
                <a:ext uri="{FF2B5EF4-FFF2-40B4-BE49-F238E27FC236}">
                  <a16:creationId xmlns:a16="http://schemas.microsoft.com/office/drawing/2014/main" id="{361ED761-0476-4473-95EF-16F2125EB148}"/>
                </a:ext>
              </a:extLst>
            </p:cNvPr>
            <p:cNvSpPr/>
            <p:nvPr/>
          </p:nvSpPr>
          <p:spPr>
            <a:xfrm flipV="1">
              <a:off x="10897392" y="124732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629" name="Oval 628">
              <a:extLst>
                <a:ext uri="{FF2B5EF4-FFF2-40B4-BE49-F238E27FC236}">
                  <a16:creationId xmlns:a16="http://schemas.microsoft.com/office/drawing/2014/main" id="{78A9CD9A-3FED-4BD3-BE15-720D87D81878}"/>
                </a:ext>
              </a:extLst>
            </p:cNvPr>
            <p:cNvSpPr/>
            <p:nvPr/>
          </p:nvSpPr>
          <p:spPr>
            <a:xfrm flipV="1">
              <a:off x="11053247" y="124529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631" name="Oval 630">
              <a:extLst>
                <a:ext uri="{FF2B5EF4-FFF2-40B4-BE49-F238E27FC236}">
                  <a16:creationId xmlns:a16="http://schemas.microsoft.com/office/drawing/2014/main" id="{D1C1F266-78EE-4F8E-A1BC-8675A078652D}"/>
                </a:ext>
              </a:extLst>
            </p:cNvPr>
            <p:cNvSpPr/>
            <p:nvPr/>
          </p:nvSpPr>
          <p:spPr>
            <a:xfrm flipV="1">
              <a:off x="10974747" y="124008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4425B234-40B8-47AB-842B-7E7EFC17E839}"/>
              </a:ext>
            </a:extLst>
          </p:cNvPr>
          <p:cNvSpPr txBox="1"/>
          <p:nvPr/>
        </p:nvSpPr>
        <p:spPr>
          <a:xfrm>
            <a:off x="613402" y="852946"/>
            <a:ext cx="1096775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50" b="1" dirty="0"/>
              <a:t>traditional workflow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DAF35438-5D22-4068-9537-1F6E952497AF}"/>
              </a:ext>
            </a:extLst>
          </p:cNvPr>
          <p:cNvSpPr txBox="1"/>
          <p:nvPr/>
        </p:nvSpPr>
        <p:spPr>
          <a:xfrm>
            <a:off x="7070003" y="76452"/>
            <a:ext cx="141737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50" b="1" dirty="0"/>
              <a:t>computer-guided workflow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A264F3E-F5F2-4E8E-A9E5-706F258DE8D8}"/>
              </a:ext>
            </a:extLst>
          </p:cNvPr>
          <p:cNvGrpSpPr/>
          <p:nvPr/>
        </p:nvGrpSpPr>
        <p:grpSpPr>
          <a:xfrm>
            <a:off x="3337660" y="757289"/>
            <a:ext cx="2341901" cy="1724345"/>
            <a:chOff x="4450212" y="1009719"/>
            <a:chExt cx="3122535" cy="2299126"/>
          </a:xfrm>
        </p:grpSpPr>
        <p:graphicFrame>
          <p:nvGraphicFramePr>
            <p:cNvPr id="309" name="Object 308">
              <a:extLst>
                <a:ext uri="{FF2B5EF4-FFF2-40B4-BE49-F238E27FC236}">
                  <a16:creationId xmlns:a16="http://schemas.microsoft.com/office/drawing/2014/main" id="{A5E7CD6A-860B-4679-B108-20500BEFCABE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6065481" y="1207965"/>
            <a:ext cx="1363663" cy="113188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8" imgW="862046" imgH="714355" progId="ChemDraw.Document.6.0">
                    <p:embed/>
                  </p:oleObj>
                </mc:Choice>
                <mc:Fallback>
                  <p:oleObj name="CS ChemDraw Drawing" r:id="rId18" imgW="862046" imgH="714355" progId="ChemDraw.Document.6.0">
                    <p:embed/>
                    <p:pic>
                      <p:nvPicPr>
                        <p:cNvPr id="309" name="Object 308">
                          <a:extLst>
                            <a:ext uri="{FF2B5EF4-FFF2-40B4-BE49-F238E27FC236}">
                              <a16:creationId xmlns:a16="http://schemas.microsoft.com/office/drawing/2014/main" id="{A5E7CD6A-860B-4679-B108-20500BEFCABE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9"/>
                        <a:stretch>
                          <a:fillRect/>
                        </a:stretch>
                      </p:blipFill>
                      <p:spPr>
                        <a:xfrm>
                          <a:off x="6065481" y="1207965"/>
                          <a:ext cx="1363663" cy="1131888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310" name="TextBox 309">
              <a:extLst>
                <a:ext uri="{FF2B5EF4-FFF2-40B4-BE49-F238E27FC236}">
                  <a16:creationId xmlns:a16="http://schemas.microsoft.com/office/drawing/2014/main" id="{F6CA555F-AEA0-4C2D-B46B-5733B3C92B6C}"/>
                </a:ext>
              </a:extLst>
            </p:cNvPr>
            <p:cNvSpPr txBox="1"/>
            <p:nvPr/>
          </p:nvSpPr>
          <p:spPr>
            <a:xfrm>
              <a:off x="6038987" y="2322047"/>
              <a:ext cx="1417071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solidFill>
                    <a:schemeClr val="accent2"/>
                  </a:solidFill>
                  <a:latin typeface="+mn-lt"/>
                </a:rPr>
                <a:t>supported catalyst systems</a:t>
              </a:r>
            </a:p>
          </p:txBody>
        </p:sp>
        <p:sp>
          <p:nvSpPr>
            <p:cNvPr id="311" name="TextBox 310">
              <a:extLst>
                <a:ext uri="{FF2B5EF4-FFF2-40B4-BE49-F238E27FC236}">
                  <a16:creationId xmlns:a16="http://schemas.microsoft.com/office/drawing/2014/main" id="{85AC9A0E-0E8D-44C7-BDB5-2A8227C26399}"/>
                </a:ext>
              </a:extLst>
            </p:cNvPr>
            <p:cNvSpPr txBox="1"/>
            <p:nvPr/>
          </p:nvSpPr>
          <p:spPr>
            <a:xfrm>
              <a:off x="4676445" y="2322047"/>
              <a:ext cx="1074724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solidFill>
                    <a:schemeClr val="accent2"/>
                  </a:solidFill>
                  <a:latin typeface="+mn-lt"/>
                </a:rPr>
                <a:t>novel catalyst systems</a:t>
              </a:r>
            </a:p>
          </p:txBody>
        </p:sp>
        <p:graphicFrame>
          <p:nvGraphicFramePr>
            <p:cNvPr id="312" name="Object 311">
              <a:extLst>
                <a:ext uri="{FF2B5EF4-FFF2-40B4-BE49-F238E27FC236}">
                  <a16:creationId xmlns:a16="http://schemas.microsoft.com/office/drawing/2014/main" id="{29E919C4-22C3-4B5A-9893-797BAB5351BD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4813514" y="1319812"/>
            <a:ext cx="748545" cy="734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20" imgW="494954" imgH="485602" progId="ChemDraw.Document.6.0">
                    <p:embed/>
                  </p:oleObj>
                </mc:Choice>
                <mc:Fallback>
                  <p:oleObj name="CS ChemDraw Drawing" r:id="rId20" imgW="494954" imgH="485602" progId="ChemDraw.Document.6.0">
                    <p:embed/>
                    <p:pic>
                      <p:nvPicPr>
                        <p:cNvPr id="312" name="Object 311">
                          <a:extLst>
                            <a:ext uri="{FF2B5EF4-FFF2-40B4-BE49-F238E27FC236}">
                              <a16:creationId xmlns:a16="http://schemas.microsoft.com/office/drawing/2014/main" id="{29E919C4-22C3-4B5A-9893-797BAB5351BD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21"/>
                        <a:stretch>
                          <a:fillRect/>
                        </a:stretch>
                      </p:blipFill>
                      <p:spPr>
                        <a:xfrm>
                          <a:off x="4813514" y="1319812"/>
                          <a:ext cx="748545" cy="73415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E941CE6E-EF0E-4B3D-A882-A94C90C0BB70}"/>
                </a:ext>
              </a:extLst>
            </p:cNvPr>
            <p:cNvSpPr/>
            <p:nvPr/>
          </p:nvSpPr>
          <p:spPr>
            <a:xfrm>
              <a:off x="4450212" y="1009719"/>
              <a:ext cx="3122535" cy="2299126"/>
            </a:xfrm>
            <a:prstGeom prst="roundRect">
              <a:avLst/>
            </a:prstGeom>
            <a:noFill/>
            <a:ln w="9525"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4EC3753-AC32-4293-86D2-E6BBF43FB28E}"/>
              </a:ext>
            </a:extLst>
          </p:cNvPr>
          <p:cNvGrpSpPr/>
          <p:nvPr/>
        </p:nvGrpSpPr>
        <p:grpSpPr>
          <a:xfrm>
            <a:off x="3588316" y="622379"/>
            <a:ext cx="3071207" cy="1809937"/>
            <a:chOff x="4784420" y="829838"/>
            <a:chExt cx="4094943" cy="2413249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2E9A6B3C-3B06-4E48-A86F-2F7DDBC7A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84420" y="829838"/>
              <a:ext cx="4083727" cy="181631"/>
            </a:xfrm>
            <a:prstGeom prst="line">
              <a:avLst/>
            </a:prstGeom>
            <a:ln w="12700" cmpd="sng">
              <a:solidFill>
                <a:schemeClr val="accent6"/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2" name="Straight Connector 321">
              <a:extLst>
                <a:ext uri="{FF2B5EF4-FFF2-40B4-BE49-F238E27FC236}">
                  <a16:creationId xmlns:a16="http://schemas.microsoft.com/office/drawing/2014/main" id="{2BD1D418-0AC4-4740-AF0A-476F428260E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429144" y="1729668"/>
              <a:ext cx="1450219" cy="1513419"/>
            </a:xfrm>
            <a:prstGeom prst="line">
              <a:avLst/>
            </a:prstGeom>
            <a:ln w="12700" cmpd="sng">
              <a:solidFill>
                <a:schemeClr val="accent6"/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1FA3E0A-CB16-4865-AB04-4C184810D786}"/>
              </a:ext>
            </a:extLst>
          </p:cNvPr>
          <p:cNvGrpSpPr/>
          <p:nvPr/>
        </p:nvGrpSpPr>
        <p:grpSpPr>
          <a:xfrm>
            <a:off x="2460464" y="2679424"/>
            <a:ext cx="4265712" cy="1850044"/>
            <a:chOff x="3280618" y="3572565"/>
            <a:chExt cx="5687617" cy="2466725"/>
          </a:xfrm>
        </p:grpSpPr>
        <p:sp>
          <p:nvSpPr>
            <p:cNvPr id="307" name="TextBox 306">
              <a:extLst>
                <a:ext uri="{FF2B5EF4-FFF2-40B4-BE49-F238E27FC236}">
                  <a16:creationId xmlns:a16="http://schemas.microsoft.com/office/drawing/2014/main" id="{45177229-C2EC-4EA3-99C3-ADC4B292B016}"/>
                </a:ext>
              </a:extLst>
            </p:cNvPr>
            <p:cNvSpPr txBox="1"/>
            <p:nvPr/>
          </p:nvSpPr>
          <p:spPr>
            <a:xfrm>
              <a:off x="4936926" y="5614095"/>
              <a:ext cx="2002504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action mechanisms</a:t>
              </a:r>
            </a:p>
          </p:txBody>
        </p:sp>
        <p:grpSp>
          <p:nvGrpSpPr>
            <p:cNvPr id="313" name="Group 312">
              <a:extLst>
                <a:ext uri="{FF2B5EF4-FFF2-40B4-BE49-F238E27FC236}">
                  <a16:creationId xmlns:a16="http://schemas.microsoft.com/office/drawing/2014/main" id="{F24BF6BC-48EA-4F4A-8C70-78ECB2B7A954}"/>
                </a:ext>
              </a:extLst>
            </p:cNvPr>
            <p:cNvGrpSpPr/>
            <p:nvPr/>
          </p:nvGrpSpPr>
          <p:grpSpPr>
            <a:xfrm>
              <a:off x="6642605" y="3572565"/>
              <a:ext cx="2325630" cy="2374390"/>
              <a:chOff x="4067357" y="3459163"/>
              <a:chExt cx="2325630" cy="2374390"/>
            </a:xfrm>
          </p:grpSpPr>
          <p:sp>
            <p:nvSpPr>
              <p:cNvPr id="314" name="TextBox 313">
                <a:extLst>
                  <a:ext uri="{FF2B5EF4-FFF2-40B4-BE49-F238E27FC236}">
                    <a16:creationId xmlns:a16="http://schemas.microsoft.com/office/drawing/2014/main" id="{39B02190-37DF-4D61-AC82-4625B58561AF}"/>
                  </a:ext>
                </a:extLst>
              </p:cNvPr>
              <p:cNvSpPr txBox="1"/>
              <p:nvPr/>
            </p:nvSpPr>
            <p:spPr>
              <a:xfrm>
                <a:off x="4629538" y="5494998"/>
                <a:ext cx="1345704" cy="338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tx2"/>
                    </a:solidFill>
                  </a:rPr>
                  <a:t>steric models</a:t>
                </a:r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  <p:pic>
            <p:nvPicPr>
              <p:cNvPr id="315" name="Picture 314">
                <a:extLst>
                  <a:ext uri="{FF2B5EF4-FFF2-40B4-BE49-F238E27FC236}">
                    <a16:creationId xmlns:a16="http://schemas.microsoft.com/office/drawing/2014/main" id="{4F57C393-F80C-4D89-862E-CF603A4E964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>
                <a:clrChange>
                  <a:clrFrom>
                    <a:srgbClr val="F8F8F8"/>
                  </a:clrFrom>
                  <a:clrTo>
                    <a:srgbClr val="F8F8F8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4067357" y="3459163"/>
                <a:ext cx="2325630" cy="2325630"/>
              </a:xfrm>
              <a:prstGeom prst="rect">
                <a:avLst/>
              </a:prstGeom>
            </p:spPr>
          </p:pic>
        </p:grpSp>
        <p:grpSp>
          <p:nvGrpSpPr>
            <p:cNvPr id="316" name="Group 315">
              <a:extLst>
                <a:ext uri="{FF2B5EF4-FFF2-40B4-BE49-F238E27FC236}">
                  <a16:creationId xmlns:a16="http://schemas.microsoft.com/office/drawing/2014/main" id="{0A82535F-8539-4F11-A632-98F3B3A9634A}"/>
                </a:ext>
              </a:extLst>
            </p:cNvPr>
            <p:cNvGrpSpPr/>
            <p:nvPr/>
          </p:nvGrpSpPr>
          <p:grpSpPr>
            <a:xfrm>
              <a:off x="3280618" y="3939175"/>
              <a:ext cx="3468774" cy="2004597"/>
              <a:chOff x="2254486" y="3841271"/>
              <a:chExt cx="3468774" cy="2004597"/>
            </a:xfrm>
          </p:grpSpPr>
          <p:sp>
            <p:nvSpPr>
              <p:cNvPr id="317" name="TextBox 316">
                <a:extLst>
                  <a:ext uri="{FF2B5EF4-FFF2-40B4-BE49-F238E27FC236}">
                    <a16:creationId xmlns:a16="http://schemas.microsoft.com/office/drawing/2014/main" id="{BC05C770-50FB-453A-B019-830EC1E31D82}"/>
                  </a:ext>
                </a:extLst>
              </p:cNvPr>
              <p:cNvSpPr txBox="1"/>
              <p:nvPr/>
            </p:nvSpPr>
            <p:spPr>
              <a:xfrm>
                <a:off x="2254486" y="5507313"/>
                <a:ext cx="1734091" cy="338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tx2"/>
                    </a:solidFill>
                  </a:rPr>
                  <a:t>ligand stability</a:t>
                </a:r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  <p:graphicFrame>
            <p:nvGraphicFramePr>
              <p:cNvPr id="320" name="Object 319">
                <a:extLst>
                  <a:ext uri="{FF2B5EF4-FFF2-40B4-BE49-F238E27FC236}">
                    <a16:creationId xmlns:a16="http://schemas.microsoft.com/office/drawing/2014/main" id="{5A616519-A8CD-4F57-918B-C849279805A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797858186"/>
                  </p:ext>
                </p:extLst>
              </p:nvPr>
            </p:nvGraphicFramePr>
            <p:xfrm>
              <a:off x="4072325" y="3841271"/>
              <a:ext cx="1650935" cy="1723181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S ChemDraw Drawing" r:id="rId23" imgW="979714" imgH="1021842" progId="ChemDraw.Document.6.0">
                      <p:embed/>
                    </p:oleObj>
                  </mc:Choice>
                  <mc:Fallback>
                    <p:oleObj name="CS ChemDraw Drawing" r:id="rId23" imgW="979714" imgH="1021842" progId="ChemDraw.Document.6.0">
                      <p:embed/>
                      <p:pic>
                        <p:nvPicPr>
                          <p:cNvPr id="320" name="Object 319">
                            <a:extLst>
                              <a:ext uri="{FF2B5EF4-FFF2-40B4-BE49-F238E27FC236}">
                                <a16:creationId xmlns:a16="http://schemas.microsoft.com/office/drawing/2014/main" id="{5A616519-A8CD-4F57-918B-C849279805A6}"/>
                              </a:ext>
                            </a:extLst>
                          </p:cNvPr>
                          <p:cNvPicPr/>
                          <p:nvPr/>
                        </p:nvPicPr>
                        <p:blipFill>
                          <a:blip r:embed="rId24"/>
                          <a:stretch>
                            <a:fillRect/>
                          </a:stretch>
                        </p:blipFill>
                        <p:spPr>
                          <a:xfrm>
                            <a:off x="4072325" y="3841271"/>
                            <a:ext cx="1650935" cy="1723181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  <p:sp>
          <p:nvSpPr>
            <p:cNvPr id="328" name="Rectangle: Rounded Corners 327">
              <a:extLst>
                <a:ext uri="{FF2B5EF4-FFF2-40B4-BE49-F238E27FC236}">
                  <a16:creationId xmlns:a16="http://schemas.microsoft.com/office/drawing/2014/main" id="{F4D59369-969D-44AF-B6B8-54F372B357E4}"/>
                </a:ext>
              </a:extLst>
            </p:cNvPr>
            <p:cNvSpPr/>
            <p:nvPr/>
          </p:nvSpPr>
          <p:spPr>
            <a:xfrm>
              <a:off x="3347044" y="3740163"/>
              <a:ext cx="5478188" cy="2299127"/>
            </a:xfrm>
            <a:prstGeom prst="roundRect">
              <a:avLst/>
            </a:prstGeom>
            <a:noFill/>
            <a:ln w="9525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157CB6F-3554-4F28-8AAA-14EB7B06DD1D}"/>
              </a:ext>
            </a:extLst>
          </p:cNvPr>
          <p:cNvGrpSpPr/>
          <p:nvPr/>
        </p:nvGrpSpPr>
        <p:grpSpPr>
          <a:xfrm>
            <a:off x="2510283" y="1725750"/>
            <a:ext cx="4403979" cy="2565821"/>
            <a:chOff x="3347044" y="2301000"/>
            <a:chExt cx="5871972" cy="3421094"/>
          </a:xfrm>
        </p:grpSpPr>
        <p:cxnSp>
          <p:nvCxnSpPr>
            <p:cNvPr id="329" name="Straight Connector 328">
              <a:extLst>
                <a:ext uri="{FF2B5EF4-FFF2-40B4-BE49-F238E27FC236}">
                  <a16:creationId xmlns:a16="http://schemas.microsoft.com/office/drawing/2014/main" id="{26571345-FAF3-4380-B2BD-BB8144DDB8B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47044" y="3442100"/>
              <a:ext cx="4109014" cy="299814"/>
            </a:xfrm>
            <a:prstGeom prst="line">
              <a:avLst/>
            </a:prstGeom>
            <a:ln w="12700" cmpd="sng">
              <a:solidFill>
                <a:schemeClr val="accent3"/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0" name="Straight Connector 329">
              <a:extLst>
                <a:ext uri="{FF2B5EF4-FFF2-40B4-BE49-F238E27FC236}">
                  <a16:creationId xmlns:a16="http://schemas.microsoft.com/office/drawing/2014/main" id="{FB013048-F9DE-4634-86C7-A2F6760F7D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825232" y="3422968"/>
              <a:ext cx="393784" cy="2299126"/>
            </a:xfrm>
            <a:prstGeom prst="line">
              <a:avLst/>
            </a:prstGeom>
            <a:ln w="12700" cmpd="sng">
              <a:solidFill>
                <a:schemeClr val="accent3"/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6" name="Straight Connector 335">
              <a:extLst>
                <a:ext uri="{FF2B5EF4-FFF2-40B4-BE49-F238E27FC236}">
                  <a16:creationId xmlns:a16="http://schemas.microsoft.com/office/drawing/2014/main" id="{19C5CFBE-25F7-419E-8421-1791DEF2DBB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466536" y="2301000"/>
              <a:ext cx="1555588" cy="1141100"/>
            </a:xfrm>
            <a:prstGeom prst="line">
              <a:avLst/>
            </a:prstGeom>
            <a:ln w="12700" cmpd="sng">
              <a:solidFill>
                <a:schemeClr val="accent3"/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909A0649-09AF-4E8E-BC3B-225D35447F88}"/>
              </a:ext>
            </a:extLst>
          </p:cNvPr>
          <p:cNvSpPr/>
          <p:nvPr/>
        </p:nvSpPr>
        <p:spPr>
          <a:xfrm>
            <a:off x="30554" y="746910"/>
            <a:ext cx="2138209" cy="3873207"/>
          </a:xfrm>
          <a:prstGeom prst="rect">
            <a:avLst/>
          </a:prstGeom>
          <a:solidFill>
            <a:srgbClr val="FFFFFF">
              <a:alpha val="74902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31" name="Rectangle 330">
            <a:extLst>
              <a:ext uri="{FF2B5EF4-FFF2-40B4-BE49-F238E27FC236}">
                <a16:creationId xmlns:a16="http://schemas.microsoft.com/office/drawing/2014/main" id="{EBFD3454-E14B-4575-9509-683B9B403872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486F3172-0629-7DAA-0332-FC4E07DB43D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7259313"/>
              </p:ext>
            </p:extLst>
          </p:nvPr>
        </p:nvGraphicFramePr>
        <p:xfrm>
          <a:off x="2774298" y="2902250"/>
          <a:ext cx="730250" cy="1298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5" imgW="729654" imgH="1290551" progId="ChemDraw.Document.6.0">
                  <p:embed/>
                </p:oleObj>
              </mc:Choice>
              <mc:Fallback>
                <p:oleObj name="CS ChemDraw Drawing" r:id="rId25" imgW="729654" imgH="1290551" progId="ChemDraw.Document.6.0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486F3172-0629-7DAA-0332-FC4E07DB4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774298" y="2902250"/>
                        <a:ext cx="730250" cy="1298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04FD34E2-7A92-B83B-EE7E-F508954D5808}"/>
              </a:ext>
            </a:extLst>
          </p:cNvPr>
          <p:cNvSpPr txBox="1"/>
          <p:nvPr/>
        </p:nvSpPr>
        <p:spPr>
          <a:xfrm>
            <a:off x="3643265" y="2263716"/>
            <a:ext cx="17107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4 patents filed, 1 granted</a:t>
            </a:r>
          </a:p>
        </p:txBody>
      </p:sp>
    </p:spTree>
    <p:extLst>
      <p:ext uri="{BB962C8B-B14F-4D97-AF65-F5344CB8AC3E}">
        <p14:creationId xmlns:p14="http://schemas.microsoft.com/office/powerpoint/2010/main" val="36741785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fill="hold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8.33333E-7 -7.40741E-7 L -8.33333E-7 0.08056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3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02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42" presetClass="path" presetSubtype="0" repeatCount="indefinite" accel="50000" decel="50000" fill="hold" grpId="0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2.5E-6 1.11022E-16 L -2.5E-6 0.15532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3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3000"/>
                            </p:stCondLst>
                            <p:childTnLst>
                              <p:par>
                                <p:cTn id="11" presetID="42" presetClass="path" presetSubtype="0" repeatCount="indefinite" accel="50000" decel="50000" fill="hold" grpId="0" nodeType="afterEffect">
                                  <p:stCondLst>
                                    <p:cond delay="5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3.05556E-6 -2.46914E-7 L -0.00139 0.09198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3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9" y="45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500"/>
                            </p:stCondLst>
                            <p:childTnLst>
                              <p:par>
                                <p:cTn id="57" presetID="42" presetClass="path" presetSubtype="0" repeatCount="indefinite" fill="hold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4.58333E-6 3.7037E-6 L 4.58333E-6 0.13009 " pathEditMode="relative" rAng="0" ptsTypes="AA">
                                      <p:cBhvr>
                                        <p:cTn id="58" dur="1000" fill="hold"/>
                                        <p:tgtEl>
                                          <p:spTgt spid="5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50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500"/>
                            </p:stCondLst>
                            <p:childTnLst>
                              <p:par>
                                <p:cTn id="60" presetID="42" presetClass="path" presetSubtype="0" repeatCount="indefinite" accel="50000" fill="hold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3.54167E-6 -1.11111E-6 L 3.54167E-6 0.13009 " pathEditMode="relative" rAng="0" ptsTypes="AA">
                                      <p:cBhvr>
                                        <p:cTn id="61" dur="1000" fill="hold"/>
                                        <p:tgtEl>
                                          <p:spTgt spid="6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505"/>
                                    </p:animMotion>
                                  </p:childTnLst>
                                </p:cTn>
                              </p:par>
                              <p:par>
                                <p:cTn id="62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0.00117 0.00023 L 0.00117 0.00046 C 0.00234 0.00093 0.00364 0.00208 0.00494 0.00278 C 0.00573 0.00324 0.00664 0.00324 0.00742 0.00347 C 0.00794 0.0037 0.00833 0.00417 0.00885 0.0044 C 0.01054 0.00509 0.01211 0.00556 0.0138 0.00625 C 0.01445 0.00648 0.0151 0.00694 0.01575 0.00694 C 0.01914 0.00764 0.02252 0.00764 0.02591 0.00787 C 0.02669 0.0081 0.0276 0.00833 0.02838 0.0088 C 0.0289 0.00903 0.02929 0.01019 0.02981 0.01042 C 0.03073 0.01134 0.03177 0.01157 0.03268 0.01227 L 0.03567 0.01389 L 0.03711 0.01481 C 0.0388 0.01782 0.03763 0.0162 0.04101 0.01829 L 0.04244 0.01921 C 0.04297 0.01944 0.04349 0.01968 0.04388 0.02014 C 0.04479 0.0206 0.04557 0.0213 0.04635 0.02176 C 0.047 0.02222 0.04765 0.02222 0.0483 0.02269 C 0.04935 0.02315 0.05026 0.02384 0.0513 0.02431 L 0.05273 0.02523 C 0.05299 0.02569 0.05325 0.02662 0.05364 0.02685 C 0.05664 0.03056 0.05455 0.02685 0.05703 0.03032 C 0.05833 0.03218 0.05781 0.03264 0.0595 0.0338 C 0.06041 0.03472 0.06159 0.03472 0.0625 0.03565 C 0.06666 0.04051 0.06132 0.03472 0.06536 0.03819 C 0.06588 0.03866 0.06627 0.03935 0.06679 0.04005 C 0.0694 0.04699 0.06601 0.03843 0.06927 0.04421 C 0.06966 0.04491 0.06992 0.04606 0.07018 0.04699 C 0.07057 0.04745 0.07083 0.04815 0.07122 0.04861 C 0.07148 0.05023 0.07239 0.05208 0.07213 0.0537 C 0.072 0.05532 0.072 0.05671 0.07174 0.0581 C 0.06992 0.06505 0.07044 0.06134 0.06875 0.06505 C 0.06692 0.06921 0.06849 0.06597 0.06731 0.07037 C 0.06536 0.07708 0.06705 0.06898 0.06588 0.07546 C 0.06601 0.0787 0.06601 0.08194 0.06627 0.08495 C 0.0664 0.08588 0.06653 0.08681 0.06679 0.0875 C 0.06744 0.08912 0.06862 0.09028 0.06927 0.0919 C 0.07018 0.09444 0.07044 0.09491 0.07122 0.09792 C 0.07135 0.09884 0.07148 0.09977 0.07174 0.10046 C 0.07148 0.10579 0.07148 0.11088 0.07122 0.1162 C 0.07109 0.11782 0.0707 0.11968 0.0707 0.1213 C 0.0707 0.12477 0.07122 0.12824 0.07122 0.13171 C 0.07135 0.14583 0.07122 0.15995 0.07122 0.17431 " pathEditMode="relative" rAng="0" ptsTypes="AAAAAAAAAAAAAAAAAAAAAAAAAAAAAAAAAAAAAAAAAAA">
                                      <p:cBhvr>
                                        <p:cTn id="63" dur="1000" fill="hold"/>
                                        <p:tgtEl>
                                          <p:spTgt spid="6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870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3500"/>
                            </p:stCondLst>
                            <p:childTnLst>
                              <p:par>
                                <p:cTn id="65" presetID="42" presetClass="path" presetSubtype="0" repeatCount="indefinite" accel="50000" decel="50000" fill="hold" grpId="0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3.75E-6 2.22222E-6 L 3.75E-6 0.15532 " pathEditMode="relative" rAng="0" ptsTypes="AA">
                                      <p:cBhvr>
                                        <p:cTn id="66" dur="2000" fill="hold"/>
                                        <p:tgtEl>
                                          <p:spTgt spid="4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500"/>
                            </p:stCondLst>
                            <p:childTnLst>
                              <p:par>
                                <p:cTn id="68" presetID="42" presetClass="path" presetSubtype="0" repeatCount="indefinite" accel="50000" decel="50000" fill="hold" grpId="0" nodeType="afterEffect">
                                  <p:stCondLst>
                                    <p:cond delay="5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2.5E-6 2.59259E-6 L 2.5E-6 0.15532 " pathEditMode="relative" rAng="0" ptsTypes="AA">
                                      <p:cBhvr>
                                        <p:cTn id="69" dur="2000" fill="hold"/>
                                        <p:tgtEl>
                                          <p:spTgt spid="50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00"/>
                            </p:stCondLst>
                            <p:childTnLst>
                              <p:par>
                                <p:cTn id="7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000"/>
                            </p:stCondLst>
                            <p:childTnLst>
                              <p:par>
                                <p:cTn id="8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500"/>
                            </p:stCondLst>
                            <p:childTnLst>
                              <p:par>
                                <p:cTn id="8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9" grpId="0" animBg="1"/>
      <p:bldP spid="365" grpId="0" animBg="1"/>
      <p:bldP spid="484" grpId="0" animBg="1"/>
      <p:bldP spid="484" grpId="1" animBg="1"/>
      <p:bldP spid="507" grpId="0" animBg="1"/>
      <p:bldP spid="507" grpId="1" animBg="1"/>
      <p:bldP spid="302" grpId="0"/>
      <p:bldP spid="2" grpId="0" animBg="1"/>
      <p:bldP spid="1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15A8CA64-3241-46BA-A2ED-DBB21B6AA4B5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B197797-7E11-4520-A554-FCC10D64FE22}"/>
              </a:ext>
            </a:extLst>
          </p:cNvPr>
          <p:cNvGrpSpPr/>
          <p:nvPr/>
        </p:nvGrpSpPr>
        <p:grpSpPr>
          <a:xfrm>
            <a:off x="3795304" y="1204444"/>
            <a:ext cx="3067666" cy="2825741"/>
            <a:chOff x="5073105" y="1631325"/>
            <a:chExt cx="4090221" cy="3767655"/>
          </a:xfrm>
        </p:grpSpPr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D06B7232-0F82-42A4-8EE1-CE7CFA06CC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32404"/>
            <a:stretch/>
          </p:blipFill>
          <p:spPr>
            <a:xfrm>
              <a:off x="5073105" y="1631325"/>
              <a:ext cx="2827001" cy="3767655"/>
            </a:xfrm>
            <a:prstGeom prst="rect">
              <a:avLst/>
            </a:prstGeom>
          </p:spPr>
        </p:pic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874A806D-886A-471A-B402-7C5DE4C47D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71829" r="2199"/>
            <a:stretch/>
          </p:blipFill>
          <p:spPr>
            <a:xfrm>
              <a:off x="5073105" y="4337583"/>
              <a:ext cx="4090221" cy="1061397"/>
            </a:xfrm>
            <a:prstGeom prst="rect">
              <a:avLst/>
            </a:prstGeom>
          </p:spPr>
        </p:pic>
      </p:grp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schemeClr val="accent5">
                  <a:lumMod val="75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502DCA6-B81F-44F5-9F01-51C32F7F2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Ligand </a:t>
            </a:r>
            <a:r>
              <a:rPr lang="en-US" u="sng" dirty="0"/>
              <a:t>Stability</a:t>
            </a:r>
            <a:r>
              <a:rPr lang="en-US" dirty="0"/>
              <a:t> Correlates with Lower PE </a:t>
            </a:r>
            <a:r>
              <a:rPr lang="en-US" dirty="0" err="1"/>
              <a:t>wt</a:t>
            </a:r>
            <a:r>
              <a:rPr lang="en-US" dirty="0"/>
              <a:t>%</a:t>
            </a:r>
          </a:p>
        </p:txBody>
      </p:sp>
      <p:graphicFrame>
        <p:nvGraphicFramePr>
          <p:cNvPr id="25" name="Object 24">
            <a:extLst>
              <a:ext uri="{FF2B5EF4-FFF2-40B4-BE49-F238E27FC236}">
                <a16:creationId xmlns:a16="http://schemas.microsoft.com/office/drawing/2014/main" id="{F31E119A-F451-4586-A8AE-E4561BA54DA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61713572"/>
              </p:ext>
            </p:extLst>
          </p:nvPr>
        </p:nvGraphicFramePr>
        <p:xfrm>
          <a:off x="362305" y="1839337"/>
          <a:ext cx="3390694" cy="9833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8" imgW="1811828" imgH="524048" progId="ChemDraw.Document.6.0">
                  <p:embed/>
                </p:oleObj>
              </mc:Choice>
              <mc:Fallback>
                <p:oleObj name="CS ChemDraw Drawing" r:id="rId8" imgW="1811828" imgH="524048" progId="ChemDraw.Document.6.0">
                  <p:embed/>
                  <p:pic>
                    <p:nvPicPr>
                      <p:cNvPr id="25" name="Object 24">
                        <a:extLst>
                          <a:ext uri="{FF2B5EF4-FFF2-40B4-BE49-F238E27FC236}">
                            <a16:creationId xmlns:a16="http://schemas.microsoft.com/office/drawing/2014/main" id="{F31E119A-F451-4586-A8AE-E4561BA54D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62305" y="1839337"/>
                        <a:ext cx="3390694" cy="9833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6" name="Object 25">
            <a:extLst>
              <a:ext uri="{FF2B5EF4-FFF2-40B4-BE49-F238E27FC236}">
                <a16:creationId xmlns:a16="http://schemas.microsoft.com/office/drawing/2014/main" id="{A396436D-6A9A-4E32-BC34-C1149B9C2C4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18546" y="2840456"/>
          <a:ext cx="1613471" cy="155392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0" imgW="1002730" imgH="968848" progId="ChemDraw.Document.6.0">
                  <p:embed/>
                </p:oleObj>
              </mc:Choice>
              <mc:Fallback>
                <p:oleObj name="CS ChemDraw Drawing" r:id="rId10" imgW="1002730" imgH="968848" progId="ChemDraw.Document.6.0">
                  <p:embed/>
                  <p:pic>
                    <p:nvPicPr>
                      <p:cNvPr id="26" name="Object 25">
                        <a:extLst>
                          <a:ext uri="{FF2B5EF4-FFF2-40B4-BE49-F238E27FC236}">
                            <a16:creationId xmlns:a16="http://schemas.microsoft.com/office/drawing/2014/main" id="{A396436D-6A9A-4E32-BC34-C1149B9C2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>
                        <a:alphaModFix amt="90000"/>
                      </a:blip>
                      <a:stretch>
                        <a:fillRect/>
                      </a:stretch>
                    </p:blipFill>
                    <p:spPr>
                      <a:xfrm>
                        <a:off x="218546" y="2840456"/>
                        <a:ext cx="1613471" cy="155392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0279B74F-04D6-47C4-B6B4-3EAD0867D0EA}"/>
              </a:ext>
            </a:extLst>
          </p:cNvPr>
          <p:cNvSpPr/>
          <p:nvPr/>
        </p:nvSpPr>
        <p:spPr>
          <a:xfrm>
            <a:off x="1709002" y="4680915"/>
            <a:ext cx="515396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dirty="0"/>
              <a:t>Lin, S.; Fromer, J. C.; Ghosh, Y.; Hanna, B.; Elanany, M.; Xu, W. </a:t>
            </a:r>
            <a:r>
              <a:rPr lang="en-US" sz="900" i="1" dirty="0"/>
              <a:t>Sci. Rep.</a:t>
            </a:r>
            <a:r>
              <a:rPr lang="en-US" sz="900" dirty="0"/>
              <a:t> </a:t>
            </a:r>
            <a:r>
              <a:rPr lang="en-US" sz="900" b="1" dirty="0"/>
              <a:t>2021</a:t>
            </a:r>
            <a:r>
              <a:rPr lang="en-US" sz="900" dirty="0"/>
              <a:t>, </a:t>
            </a:r>
            <a:r>
              <a:rPr lang="en-US" sz="900" i="1" dirty="0"/>
              <a:t>11</a:t>
            </a:r>
            <a:r>
              <a:rPr lang="en-US" sz="900" dirty="0"/>
              <a:t>, 4534.</a:t>
            </a: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13832F43-E459-44F4-8914-1D049A0A058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58805" y="779306"/>
          <a:ext cx="2412616" cy="7738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2" imgW="2474478" imgH="793658" progId="ChemDraw.Document.6.0">
                  <p:embed/>
                </p:oleObj>
              </mc:Choice>
              <mc:Fallback>
                <p:oleObj name="CS ChemDraw Drawing" r:id="rId12" imgW="2474478" imgH="793658" progId="ChemDraw.Document.6.0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13832F43-E459-44F4-8914-1D049A0A0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758805" y="779306"/>
                        <a:ext cx="2412616" cy="7738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5" name="Object 44">
            <a:extLst>
              <a:ext uri="{FF2B5EF4-FFF2-40B4-BE49-F238E27FC236}">
                <a16:creationId xmlns:a16="http://schemas.microsoft.com/office/drawing/2014/main" id="{B54AB2A0-376B-49EE-99C2-EB4FDE5569C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686187" y="2793432"/>
          <a:ext cx="940594" cy="8322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4" imgW="556104" imgH="495023" progId="ChemDraw.Document.6.0">
                  <p:embed/>
                </p:oleObj>
              </mc:Choice>
              <mc:Fallback>
                <p:oleObj name="CS ChemDraw Drawing" r:id="rId14" imgW="556104" imgH="495023" progId="ChemDraw.Document.6.0">
                  <p:embed/>
                  <p:pic>
                    <p:nvPicPr>
                      <p:cNvPr id="45" name="Object 44">
                        <a:extLst>
                          <a:ext uri="{FF2B5EF4-FFF2-40B4-BE49-F238E27FC236}">
                            <a16:creationId xmlns:a16="http://schemas.microsoft.com/office/drawing/2014/main" id="{B54AB2A0-376B-49EE-99C2-EB4FDE556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>
                        <a:alphaModFix amt="90000"/>
                      </a:blip>
                      <a:stretch>
                        <a:fillRect/>
                      </a:stretch>
                    </p:blipFill>
                    <p:spPr>
                      <a:xfrm>
                        <a:off x="2686187" y="2793432"/>
                        <a:ext cx="940594" cy="83224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Picture 36">
            <a:extLst>
              <a:ext uri="{FF2B5EF4-FFF2-40B4-BE49-F238E27FC236}">
                <a16:creationId xmlns:a16="http://schemas.microsoft.com/office/drawing/2014/main" id="{D0170756-7070-417F-B540-9A79F2F67FB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017" r="9"/>
          <a:stretch/>
        </p:blipFill>
        <p:spPr>
          <a:xfrm>
            <a:off x="3921063" y="1194034"/>
            <a:ext cx="3010352" cy="2825741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585EFD75-74F7-48A7-9F40-CA4EE6A4CE08}"/>
              </a:ext>
            </a:extLst>
          </p:cNvPr>
          <p:cNvSpPr/>
          <p:nvPr/>
        </p:nvSpPr>
        <p:spPr>
          <a:xfrm rot="2309902">
            <a:off x="4308990" y="1608796"/>
            <a:ext cx="1840960" cy="812081"/>
          </a:xfrm>
          <a:prstGeom prst="ellipse">
            <a:avLst/>
          </a:prstGeom>
          <a:noFill/>
          <a:ln w="9525">
            <a:solidFill>
              <a:schemeClr val="bg2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54F9037-5FCD-4AC2-A39A-DC245148E368}"/>
              </a:ext>
            </a:extLst>
          </p:cNvPr>
          <p:cNvSpPr/>
          <p:nvPr/>
        </p:nvSpPr>
        <p:spPr>
          <a:xfrm>
            <a:off x="123295" y="1762125"/>
            <a:ext cx="3705478" cy="2825853"/>
          </a:xfrm>
          <a:prstGeom prst="roundRect">
            <a:avLst/>
          </a:prstGeom>
          <a:noFill/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48C7A79F-1AA3-4463-9813-5DC6A91F541F}"/>
              </a:ext>
            </a:extLst>
          </p:cNvPr>
          <p:cNvGrpSpPr/>
          <p:nvPr/>
        </p:nvGrpSpPr>
        <p:grpSpPr>
          <a:xfrm>
            <a:off x="514350" y="1441845"/>
            <a:ext cx="5435511" cy="2978367"/>
            <a:chOff x="685800" y="1922460"/>
            <a:chExt cx="7247348" cy="3971156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F1BBA69-9D7F-41B5-9183-A41190C5BBDC}"/>
                </a:ext>
              </a:extLst>
            </p:cNvPr>
            <p:cNvCxnSpPr>
              <a:cxnSpLocks/>
              <a:stCxn id="9" idx="2"/>
            </p:cNvCxnSpPr>
            <p:nvPr/>
          </p:nvCxnSpPr>
          <p:spPr>
            <a:xfrm flipH="1">
              <a:off x="685800" y="1922460"/>
              <a:ext cx="5326304" cy="427040"/>
            </a:xfrm>
            <a:prstGeom prst="line">
              <a:avLst/>
            </a:prstGeom>
            <a:ln w="12700" cmpd="sng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B48A5EEE-CACA-4464-88A5-33C0EB2AF911}"/>
                </a:ext>
              </a:extLst>
            </p:cNvPr>
            <p:cNvCxnSpPr>
              <a:cxnSpLocks/>
              <a:stCxn id="9" idx="6"/>
            </p:cNvCxnSpPr>
            <p:nvPr/>
          </p:nvCxnSpPr>
          <p:spPr>
            <a:xfrm flipH="1">
              <a:off x="4951874" y="3450438"/>
              <a:ext cx="2981274" cy="2443178"/>
            </a:xfrm>
            <a:prstGeom prst="line">
              <a:avLst/>
            </a:prstGeom>
            <a:ln w="12700" cmpd="sng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Oval 57">
            <a:extLst>
              <a:ext uri="{FF2B5EF4-FFF2-40B4-BE49-F238E27FC236}">
                <a16:creationId xmlns:a16="http://schemas.microsoft.com/office/drawing/2014/main" id="{3E6B5DC7-A32D-49C2-B369-A27A4D6EB8F4}"/>
              </a:ext>
            </a:extLst>
          </p:cNvPr>
          <p:cNvSpPr/>
          <p:nvPr/>
        </p:nvSpPr>
        <p:spPr>
          <a:xfrm rot="2309902">
            <a:off x="5821395" y="2720862"/>
            <a:ext cx="1047715" cy="352717"/>
          </a:xfrm>
          <a:prstGeom prst="ellipse">
            <a:avLst/>
          </a:prstGeom>
          <a:noFill/>
          <a:ln w="9525">
            <a:solidFill>
              <a:schemeClr val="accent2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60348139-AC6E-4F29-9720-B1A3C929A515}"/>
              </a:ext>
            </a:extLst>
          </p:cNvPr>
          <p:cNvSpPr/>
          <p:nvPr/>
        </p:nvSpPr>
        <p:spPr>
          <a:xfrm>
            <a:off x="7197627" y="478878"/>
            <a:ext cx="1804029" cy="4109100"/>
          </a:xfrm>
          <a:prstGeom prst="roundRect">
            <a:avLst/>
          </a:prstGeom>
          <a:noFill/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FCC1221B-C58A-4CB2-A88C-7BE16988C0C9}"/>
              </a:ext>
            </a:extLst>
          </p:cNvPr>
          <p:cNvGrpSpPr/>
          <p:nvPr/>
        </p:nvGrpSpPr>
        <p:grpSpPr>
          <a:xfrm>
            <a:off x="5935267" y="723288"/>
            <a:ext cx="1262360" cy="3671095"/>
            <a:chOff x="7913690" y="964384"/>
            <a:chExt cx="1683146" cy="4894793"/>
          </a:xfrm>
        </p:grpSpPr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40F5ACA-8660-4693-A689-EC93DD590726}"/>
                </a:ext>
              </a:extLst>
            </p:cNvPr>
            <p:cNvCxnSpPr>
              <a:cxnSpLocks/>
              <a:stCxn id="58" idx="2"/>
            </p:cNvCxnSpPr>
            <p:nvPr/>
          </p:nvCxnSpPr>
          <p:spPr>
            <a:xfrm flipV="1">
              <a:off x="7913690" y="964384"/>
              <a:ext cx="1683146" cy="2463781"/>
            </a:xfrm>
            <a:prstGeom prst="line">
              <a:avLst/>
            </a:prstGeom>
            <a:ln w="12700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30BE2690-BD39-4E7E-BE82-1C4DB208ABF9}"/>
                </a:ext>
              </a:extLst>
            </p:cNvPr>
            <p:cNvCxnSpPr>
              <a:cxnSpLocks/>
              <a:stCxn id="58" idx="4"/>
            </p:cNvCxnSpPr>
            <p:nvPr/>
          </p:nvCxnSpPr>
          <p:spPr>
            <a:xfrm>
              <a:off x="8313961" y="4046990"/>
              <a:ext cx="1282875" cy="1812187"/>
            </a:xfrm>
            <a:prstGeom prst="line">
              <a:avLst/>
            </a:prstGeom>
            <a:ln w="12700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F3F11327-AD8A-405A-AD21-4DD3937322D7}"/>
              </a:ext>
            </a:extLst>
          </p:cNvPr>
          <p:cNvSpPr/>
          <p:nvPr/>
        </p:nvSpPr>
        <p:spPr>
          <a:xfrm>
            <a:off x="7212221" y="2109934"/>
            <a:ext cx="1804029" cy="1015663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/>
            <a:endParaRPr lang="en-US" sz="1200" b="1" dirty="0">
              <a:solidFill>
                <a:schemeClr val="bg1"/>
              </a:solidFill>
            </a:endParaRPr>
          </a:p>
          <a:p>
            <a:pPr algn="ctr"/>
            <a:r>
              <a:rPr lang="en-US" sz="1200" b="1" dirty="0">
                <a:solidFill>
                  <a:schemeClr val="bg1"/>
                </a:solidFill>
              </a:rPr>
              <a:t>Will extra-stable ligands yield very low polyethylene?</a:t>
            </a:r>
          </a:p>
          <a:p>
            <a:pPr algn="ctr"/>
            <a:endParaRPr lang="en-US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76" name="Object 75">
            <a:extLst>
              <a:ext uri="{FF2B5EF4-FFF2-40B4-BE49-F238E27FC236}">
                <a16:creationId xmlns:a16="http://schemas.microsoft.com/office/drawing/2014/main" id="{9E45AC74-AB8D-40C9-BA1F-575BB298D8E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53467" y="94182"/>
          <a:ext cx="617221" cy="6079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6" imgW="1052493" imgH="1037428" progId="ChemDraw.Document.6.0">
                  <p:embed/>
                </p:oleObj>
              </mc:Choice>
              <mc:Fallback>
                <p:oleObj name="CS ChemDraw Drawing" r:id="rId16" imgW="1052493" imgH="1037428" progId="ChemDraw.Document.6.0">
                  <p:embed/>
                  <p:pic>
                    <p:nvPicPr>
                      <p:cNvPr id="76" name="Object 75">
                        <a:extLst>
                          <a:ext uri="{FF2B5EF4-FFF2-40B4-BE49-F238E27FC236}">
                            <a16:creationId xmlns:a16="http://schemas.microsoft.com/office/drawing/2014/main" id="{9E45AC74-AB8D-40C9-BA1F-575BB298D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53467" y="94182"/>
                        <a:ext cx="617221" cy="6079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extBox 76">
            <a:extLst>
              <a:ext uri="{FF2B5EF4-FFF2-40B4-BE49-F238E27FC236}">
                <a16:creationId xmlns:a16="http://schemas.microsoft.com/office/drawing/2014/main" id="{905262C2-F7DF-4645-BE9F-44A9144F2490}"/>
              </a:ext>
            </a:extLst>
          </p:cNvPr>
          <p:cNvSpPr txBox="1"/>
          <p:nvPr/>
        </p:nvSpPr>
        <p:spPr>
          <a:xfrm rot="2330611">
            <a:off x="6271419" y="2455733"/>
            <a:ext cx="604653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50" dirty="0"/>
              <a:t>projected </a:t>
            </a:r>
          </a:p>
          <a:p>
            <a:pPr algn="ctr"/>
            <a:r>
              <a:rPr lang="en-US" sz="750" dirty="0"/>
              <a:t>activities</a:t>
            </a:r>
          </a:p>
        </p:txBody>
      </p:sp>
    </p:spTree>
    <p:extLst>
      <p:ext uri="{BB962C8B-B14F-4D97-AF65-F5344CB8AC3E}">
        <p14:creationId xmlns:p14="http://schemas.microsoft.com/office/powerpoint/2010/main" val="2027194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0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500"/>
                            </p:stCondLst>
                            <p:childTnLst>
                              <p:par>
                                <p:cTn id="4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0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5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58" grpId="0" animBg="1"/>
      <p:bldP spid="59" grpId="0" animBg="1"/>
      <p:bldP spid="74" grpId="0" animBg="1"/>
      <p:bldP spid="7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1618BC3-E957-45D1-A604-8CCB7E73A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0043" y="206004"/>
            <a:ext cx="7638985" cy="618166"/>
          </a:xfrm>
        </p:spPr>
        <p:txBody>
          <a:bodyPr/>
          <a:lstStyle/>
          <a:p>
            <a:r>
              <a:rPr lang="en-US" u="sng" dirty="0"/>
              <a:t>Mechanism</a:t>
            </a:r>
            <a:r>
              <a:rPr lang="en-US" dirty="0"/>
              <a:t>: Prior DFT Study 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922AE7AA-1AAC-40BA-8836-FD74EB4EBCC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60274" y="668338"/>
          <a:ext cx="3976687" cy="3806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" imgW="3977102" imgH="3806548" progId="ChemDraw.Document.6.0">
                  <p:embed/>
                </p:oleObj>
              </mc:Choice>
              <mc:Fallback>
                <p:oleObj name="CS ChemDraw Drawing" r:id="rId2" imgW="3977102" imgH="3806548" progId="ChemDraw.Document.6.0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922AE7AA-1AAC-40BA-8836-FD74EB4EB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560274" y="668338"/>
                        <a:ext cx="3976687" cy="38068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C4B5C52A-742E-4946-2DF2-C99256781B58}"/>
              </a:ext>
            </a:extLst>
          </p:cNvPr>
          <p:cNvSpPr txBox="1"/>
          <p:nvPr/>
        </p:nvSpPr>
        <p:spPr>
          <a:xfrm>
            <a:off x="71310" y="4391025"/>
            <a:ext cx="472721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 err="1"/>
              <a:t>Britovsek</a:t>
            </a:r>
            <a:r>
              <a:rPr lang="en-US" sz="1000" dirty="0"/>
              <a:t>, G. J. P.; McGuinness, D. S. </a:t>
            </a:r>
            <a:r>
              <a:rPr lang="en-US" i="1" dirty="0"/>
              <a:t>Chem. Eur. J.</a:t>
            </a:r>
            <a:r>
              <a:rPr lang="en-US" sz="1000" dirty="0"/>
              <a:t> </a:t>
            </a:r>
            <a:r>
              <a:rPr lang="en-US" sz="1000" b="1" dirty="0"/>
              <a:t>2016</a:t>
            </a:r>
            <a:r>
              <a:rPr lang="en-US" sz="1000" dirty="0"/>
              <a:t>, </a:t>
            </a:r>
            <a:r>
              <a:rPr lang="en-US" sz="1000" i="1" dirty="0"/>
              <a:t>22</a:t>
            </a:r>
            <a:r>
              <a:rPr lang="en-US" sz="1000" dirty="0"/>
              <a:t>, 16891</a:t>
            </a:r>
            <a:endParaRPr lang="en-US" sz="10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8EFF0D-7A39-74EA-BE0A-C5521D2DC672}"/>
              </a:ext>
            </a:extLst>
          </p:cNvPr>
          <p:cNvSpPr/>
          <p:nvPr/>
        </p:nvSpPr>
        <p:spPr>
          <a:xfrm>
            <a:off x="4818967" y="94182"/>
            <a:ext cx="4020842" cy="2860155"/>
          </a:xfrm>
          <a:prstGeom prst="rect">
            <a:avLst/>
          </a:prstGeom>
          <a:solidFill>
            <a:srgbClr val="00A3E0">
              <a:alpha val="94902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400" b="1" dirty="0"/>
              <a:t>Observations</a:t>
            </a:r>
          </a:p>
          <a:p>
            <a:pPr algn="l"/>
            <a:endParaRPr lang="en-US" sz="1400" b="1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400" dirty="0"/>
              <a:t>Simpler ligand used (</a:t>
            </a:r>
            <a:r>
              <a:rPr lang="en-US" sz="1400" dirty="0">
                <a:highlight>
                  <a:srgbClr val="FF0000"/>
                </a:highlight>
              </a:rPr>
              <a:t>N-Me</a:t>
            </a:r>
            <a:r>
              <a:rPr lang="en-US" sz="1400" dirty="0"/>
              <a:t> instead of N-</a:t>
            </a:r>
            <a:r>
              <a:rPr lang="en-US" sz="1400" i="1" dirty="0" err="1"/>
              <a:t>i</a:t>
            </a:r>
            <a:r>
              <a:rPr lang="en-US" sz="1400" dirty="0" err="1"/>
              <a:t>Pr</a:t>
            </a:r>
            <a:r>
              <a:rPr lang="en-US" sz="1400" dirty="0"/>
              <a:t>)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400" dirty="0"/>
              <a:t>Only explored a few conformers: </a:t>
            </a:r>
          </a:p>
          <a:p>
            <a:pPr marL="285750" indent="-285750" algn="l">
              <a:buFont typeface="Courier New" panose="02070309020205020404" pitchFamily="49" charset="0"/>
              <a:buChar char="o"/>
            </a:pPr>
            <a:r>
              <a:rPr lang="en-US" sz="1400" dirty="0"/>
              <a:t>7 for ethylene adduct (</a:t>
            </a:r>
            <a:r>
              <a:rPr lang="en-US" sz="1400" b="1" dirty="0"/>
              <a:t>18b)</a:t>
            </a:r>
            <a:r>
              <a:rPr lang="en-US" sz="1400" dirty="0"/>
              <a:t> </a:t>
            </a:r>
          </a:p>
          <a:p>
            <a:pPr marL="285750" indent="-285750" algn="l">
              <a:buFont typeface="Courier New" panose="02070309020205020404" pitchFamily="49" charset="0"/>
              <a:buChar char="o"/>
            </a:pPr>
            <a:r>
              <a:rPr lang="en-US" sz="1400" dirty="0"/>
              <a:t>3 for ethylene insertion TS (</a:t>
            </a:r>
            <a:r>
              <a:rPr lang="en-US" sz="1400" b="1" dirty="0"/>
              <a:t>TS18f-19</a:t>
            </a:r>
            <a:r>
              <a:rPr lang="en-US" sz="1400" dirty="0"/>
              <a:t>)</a:t>
            </a:r>
          </a:p>
          <a:p>
            <a:pPr marL="285750" indent="-285750" algn="l">
              <a:buFont typeface="Courier New" panose="02070309020205020404" pitchFamily="49" charset="0"/>
              <a:buChar char="o"/>
            </a:pPr>
            <a:r>
              <a:rPr lang="en-US" sz="1400" dirty="0"/>
              <a:t>1 for beta hydride </a:t>
            </a:r>
            <a:r>
              <a:rPr lang="en-US" sz="1400" dirty="0" err="1"/>
              <a:t>trainsfer</a:t>
            </a:r>
            <a:r>
              <a:rPr lang="en-US" sz="1400" dirty="0"/>
              <a:t> TS (</a:t>
            </a:r>
            <a:r>
              <a:rPr lang="en-US" sz="1400" b="1" dirty="0"/>
              <a:t>TS8-12</a:t>
            </a:r>
            <a:r>
              <a:rPr lang="en-US" sz="1400" dirty="0"/>
              <a:t>)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400" dirty="0"/>
              <a:t>Predicted too high 1-C</a:t>
            </a:r>
            <a:r>
              <a:rPr lang="en-US" sz="1400" baseline="-25000" dirty="0"/>
              <a:t>8</a:t>
            </a:r>
            <a:r>
              <a:rPr lang="en-US" sz="1400" dirty="0"/>
              <a:t>/1-C</a:t>
            </a:r>
            <a:r>
              <a:rPr lang="en-US" sz="1400" baseline="-25000" dirty="0"/>
              <a:t>6</a:t>
            </a:r>
            <a:r>
              <a:rPr lang="en-US" sz="1400" dirty="0"/>
              <a:t> ratio            (</a:t>
            </a:r>
            <a:r>
              <a:rPr lang="el-GR" sz="1400" dirty="0"/>
              <a:t>ΔΔ</a:t>
            </a:r>
            <a:r>
              <a:rPr lang="en-US" sz="1400" dirty="0"/>
              <a:t>G = 5.7 kcal/mol)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400" dirty="0"/>
              <a:t>Empirically, 1-C</a:t>
            </a:r>
            <a:r>
              <a:rPr lang="en-US" sz="1400" baseline="-25000" dirty="0"/>
              <a:t>8</a:t>
            </a:r>
            <a:r>
              <a:rPr lang="en-US" sz="1400" dirty="0"/>
              <a:t>/1-C</a:t>
            </a:r>
            <a:r>
              <a:rPr lang="en-US" sz="1400" baseline="-25000" dirty="0"/>
              <a:t>6</a:t>
            </a:r>
            <a:r>
              <a:rPr lang="en-US" sz="1400" dirty="0"/>
              <a:t> does not exceed ~6, even at high pressures—why?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A783E6F-B5B7-1D46-F073-259BE01AD37C}"/>
              </a:ext>
            </a:extLst>
          </p:cNvPr>
          <p:cNvSpPr/>
          <p:nvPr/>
        </p:nvSpPr>
        <p:spPr>
          <a:xfrm>
            <a:off x="4818967" y="3113833"/>
            <a:ext cx="4020842" cy="1303282"/>
          </a:xfrm>
          <a:prstGeom prst="rect">
            <a:avLst/>
          </a:prstGeom>
          <a:solidFill>
            <a:schemeClr val="tx2">
              <a:lumMod val="75000"/>
              <a:alpha val="94902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400" b="1" dirty="0"/>
              <a:t>Strategy</a:t>
            </a:r>
          </a:p>
          <a:p>
            <a:pPr algn="l"/>
            <a:endParaRPr lang="en-US" sz="1400" b="1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400" dirty="0"/>
              <a:t>Analyze the full ligand (N-</a:t>
            </a:r>
            <a:r>
              <a:rPr lang="en-US" sz="1400" i="1" dirty="0" err="1"/>
              <a:t>i</a:t>
            </a:r>
            <a:r>
              <a:rPr lang="en-US" sz="1400" dirty="0" err="1"/>
              <a:t>Pr</a:t>
            </a:r>
            <a:r>
              <a:rPr lang="en-US" sz="1400" dirty="0"/>
              <a:t>)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400" dirty="0"/>
              <a:t>More exhaustively search molecular conformations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4C349546-052F-B965-2595-ACF7620C8110}"/>
              </a:ext>
            </a:extLst>
          </p:cNvPr>
          <p:cNvSpPr/>
          <p:nvPr/>
        </p:nvSpPr>
        <p:spPr>
          <a:xfrm>
            <a:off x="1943100" y="1047750"/>
            <a:ext cx="247650" cy="409575"/>
          </a:xfrm>
          <a:prstGeom prst="ellipse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F67D3E66-5BC5-B772-DA61-EAE1A66FF67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53467" y="94182"/>
          <a:ext cx="617221" cy="6079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4" imgW="1052493" imgH="1037428" progId="ChemDraw.Document.6.0">
                  <p:embed/>
                </p:oleObj>
              </mc:Choice>
              <mc:Fallback>
                <p:oleObj name="CS ChemDraw Drawing" r:id="rId4" imgW="1052493" imgH="1037428" progId="ChemDraw.Document.6.0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F67D3E66-5BC5-B772-DA61-EAE1A66FF6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3467" y="94182"/>
                        <a:ext cx="617221" cy="6079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9895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schemeClr val="accent5">
                  <a:lumMod val="75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502DCA6-B81F-44F5-9F01-51C32F7F21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9770" y="205983"/>
            <a:ext cx="7629260" cy="618166"/>
          </a:xfrm>
        </p:spPr>
        <p:txBody>
          <a:bodyPr/>
          <a:lstStyle/>
          <a:p>
            <a:r>
              <a:rPr lang="en-US" dirty="0"/>
              <a:t>Mechanism: Automated Conformer Analysis</a:t>
            </a:r>
          </a:p>
        </p:txBody>
      </p:sp>
      <p:sp>
        <p:nvSpPr>
          <p:cNvPr id="44" name="Title 2">
            <a:extLst>
              <a:ext uri="{FF2B5EF4-FFF2-40B4-BE49-F238E27FC236}">
                <a16:creationId xmlns:a16="http://schemas.microsoft.com/office/drawing/2014/main" id="{E4338BA4-96B5-45E8-AC04-A33002C45E19}"/>
              </a:ext>
            </a:extLst>
          </p:cNvPr>
          <p:cNvSpPr txBox="1">
            <a:spLocks/>
          </p:cNvSpPr>
          <p:nvPr/>
        </p:nvSpPr>
        <p:spPr>
          <a:xfrm>
            <a:off x="111313" y="1888993"/>
            <a:ext cx="6074570" cy="463625"/>
          </a:xfrm>
          <a:prstGeom prst="rect">
            <a:avLst/>
          </a:prstGeom>
        </p:spPr>
        <p:txBody>
          <a:bodyPr vert="horz" lIns="0" tIns="29755" rIns="0" bIns="29755" rtlCol="0" anchor="t">
            <a:noAutofit/>
          </a:bodyPr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297540" fontAlgn="auto">
              <a:spcAft>
                <a:spcPts val="0"/>
              </a:spcAft>
              <a:defRPr/>
            </a:pPr>
            <a:r>
              <a:rPr lang="en-US" sz="2400">
                <a:solidFill>
                  <a:srgbClr val="53565A">
                    <a:lumMod val="50000"/>
                  </a:srgbClr>
                </a:solidFill>
                <a:latin typeface="Trebuchet MS"/>
              </a:rPr>
              <a:t>XTBDFT</a:t>
            </a:r>
            <a:endParaRPr lang="en-US" sz="2400" dirty="0">
              <a:solidFill>
                <a:srgbClr val="53565A">
                  <a:lumMod val="50000"/>
                </a:srgbClr>
              </a:solidFill>
              <a:latin typeface="Trebuchet MS"/>
            </a:endParaRPr>
          </a:p>
        </p:txBody>
      </p:sp>
      <p:graphicFrame>
        <p:nvGraphicFramePr>
          <p:cNvPr id="45" name="Object 44">
            <a:extLst>
              <a:ext uri="{FF2B5EF4-FFF2-40B4-BE49-F238E27FC236}">
                <a16:creationId xmlns:a16="http://schemas.microsoft.com/office/drawing/2014/main" id="{9D17787F-A091-43CF-8C45-C8335779879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002757" y="843016"/>
          <a:ext cx="799110" cy="8487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7" imgW="612167" imgH="650354" progId="ChemDraw.Document.6.0">
                  <p:embed/>
                </p:oleObj>
              </mc:Choice>
              <mc:Fallback>
                <p:oleObj name="CS ChemDraw Drawing" r:id="rId7" imgW="612167" imgH="650354" progId="ChemDraw.Document.6.0">
                  <p:embed/>
                  <p:pic>
                    <p:nvPicPr>
                      <p:cNvPr id="45" name="Object 44">
                        <a:extLst>
                          <a:ext uri="{FF2B5EF4-FFF2-40B4-BE49-F238E27FC236}">
                            <a16:creationId xmlns:a16="http://schemas.microsoft.com/office/drawing/2014/main" id="{9D17787F-A091-43CF-8C45-C833577987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02757" y="843016"/>
                        <a:ext cx="799110" cy="8487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Box 47">
            <a:extLst>
              <a:ext uri="{FF2B5EF4-FFF2-40B4-BE49-F238E27FC236}">
                <a16:creationId xmlns:a16="http://schemas.microsoft.com/office/drawing/2014/main" id="{4BB62244-8990-4107-9779-A84F255B5145}"/>
              </a:ext>
            </a:extLst>
          </p:cNvPr>
          <p:cNvSpPr txBox="1"/>
          <p:nvPr/>
        </p:nvSpPr>
        <p:spPr>
          <a:xfrm>
            <a:off x="4241304" y="1655116"/>
            <a:ext cx="149030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53565A">
                    <a:lumMod val="50000"/>
                  </a:srgbClr>
                </a:solidFill>
              </a:rPr>
              <a:t>final structure and energy</a:t>
            </a: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C36D4DB7-5F93-4F12-AD48-B38B040B66A9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28172" y="691541"/>
            <a:ext cx="991424" cy="963575"/>
          </a:xfrm>
          <a:prstGeom prst="rect">
            <a:avLst/>
          </a:prstGeom>
        </p:spPr>
      </p:pic>
      <p:sp>
        <p:nvSpPr>
          <p:cNvPr id="52" name="Arrow: Chevron 51">
            <a:extLst>
              <a:ext uri="{FF2B5EF4-FFF2-40B4-BE49-F238E27FC236}">
                <a16:creationId xmlns:a16="http://schemas.microsoft.com/office/drawing/2014/main" id="{C652723F-A750-4923-BFD4-5A7216E5F2B8}"/>
              </a:ext>
            </a:extLst>
          </p:cNvPr>
          <p:cNvSpPr/>
          <p:nvPr/>
        </p:nvSpPr>
        <p:spPr>
          <a:xfrm>
            <a:off x="48508" y="2206696"/>
            <a:ext cx="6217859" cy="544370"/>
          </a:xfrm>
          <a:prstGeom prst="chevron">
            <a:avLst>
              <a:gd name="adj" fmla="val 19597"/>
            </a:avLst>
          </a:prstGeom>
          <a:solidFill>
            <a:srgbClr val="53565A">
              <a:lumMod val="50000"/>
            </a:srgbClr>
          </a:solidFill>
          <a:ln w="9525" cap="flat" cmpd="sng" algn="ctr">
            <a:solidFill>
              <a:srgbClr val="53565A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1050" kern="0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53" name="Arrow: Chevron 52">
            <a:extLst>
              <a:ext uri="{FF2B5EF4-FFF2-40B4-BE49-F238E27FC236}">
                <a16:creationId xmlns:a16="http://schemas.microsoft.com/office/drawing/2014/main" id="{E0018698-857B-442D-933B-AB93EB826E27}"/>
              </a:ext>
            </a:extLst>
          </p:cNvPr>
          <p:cNvSpPr/>
          <p:nvPr/>
        </p:nvSpPr>
        <p:spPr>
          <a:xfrm>
            <a:off x="1533789" y="2247068"/>
            <a:ext cx="1432245" cy="463625"/>
          </a:xfrm>
          <a:prstGeom prst="chevron">
            <a:avLst>
              <a:gd name="adj" fmla="val 19597"/>
            </a:avLst>
          </a:prstGeom>
          <a:solidFill>
            <a:srgbClr val="00A3E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conformer ensemble generation &amp; ranking</a:t>
            </a:r>
          </a:p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(CREST and GFN-</a:t>
            </a:r>
            <a:r>
              <a:rPr lang="en-US" sz="750" kern="0" dirty="0" err="1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xTB</a:t>
            </a: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) </a:t>
            </a:r>
          </a:p>
        </p:txBody>
      </p:sp>
      <p:sp>
        <p:nvSpPr>
          <p:cNvPr id="54" name="Arrow: Chevron 53">
            <a:extLst>
              <a:ext uri="{FF2B5EF4-FFF2-40B4-BE49-F238E27FC236}">
                <a16:creationId xmlns:a16="http://schemas.microsoft.com/office/drawing/2014/main" id="{B432F3B3-4F71-4979-8AB1-0051AF7B8CBD}"/>
              </a:ext>
            </a:extLst>
          </p:cNvPr>
          <p:cNvSpPr/>
          <p:nvPr/>
        </p:nvSpPr>
        <p:spPr>
          <a:xfrm>
            <a:off x="2914470" y="2247068"/>
            <a:ext cx="1139051" cy="463625"/>
          </a:xfrm>
          <a:prstGeom prst="chevron">
            <a:avLst>
              <a:gd name="adj" fmla="val 19597"/>
            </a:avLst>
          </a:prstGeom>
          <a:solidFill>
            <a:srgbClr val="00843D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ensemble refinement (NWChem)</a:t>
            </a:r>
          </a:p>
        </p:txBody>
      </p:sp>
      <p:sp>
        <p:nvSpPr>
          <p:cNvPr id="55" name="Arrow: Chevron 54">
            <a:extLst>
              <a:ext uri="{FF2B5EF4-FFF2-40B4-BE49-F238E27FC236}">
                <a16:creationId xmlns:a16="http://schemas.microsoft.com/office/drawing/2014/main" id="{44678A64-EDAC-47F1-85EF-6E420D071729}"/>
              </a:ext>
            </a:extLst>
          </p:cNvPr>
          <p:cNvSpPr/>
          <p:nvPr/>
        </p:nvSpPr>
        <p:spPr>
          <a:xfrm>
            <a:off x="3997532" y="2247068"/>
            <a:ext cx="1139051" cy="463625"/>
          </a:xfrm>
          <a:prstGeom prst="chevron">
            <a:avLst>
              <a:gd name="adj" fmla="val 19597"/>
            </a:avLst>
          </a:prstGeom>
          <a:solidFill>
            <a:srgbClr val="0033A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minimum final optimization (NWChem)</a:t>
            </a:r>
          </a:p>
        </p:txBody>
      </p:sp>
      <p:sp>
        <p:nvSpPr>
          <p:cNvPr id="56" name="Arrow: Chevron 55">
            <a:extLst>
              <a:ext uri="{FF2B5EF4-FFF2-40B4-BE49-F238E27FC236}">
                <a16:creationId xmlns:a16="http://schemas.microsoft.com/office/drawing/2014/main" id="{79613573-5C15-4451-A260-A803E6CEFB7A}"/>
              </a:ext>
            </a:extLst>
          </p:cNvPr>
          <p:cNvSpPr/>
          <p:nvPr/>
        </p:nvSpPr>
        <p:spPr>
          <a:xfrm>
            <a:off x="5075819" y="2247068"/>
            <a:ext cx="1139051" cy="463625"/>
          </a:xfrm>
          <a:prstGeom prst="chevron">
            <a:avLst>
              <a:gd name="adj" fmla="val 19597"/>
            </a:avLst>
          </a:prstGeom>
          <a:solidFill>
            <a:srgbClr val="53565A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quasi-harmonic frequency corrections</a:t>
            </a:r>
          </a:p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(Goodvibes)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544CCEC-3287-4C1E-9923-08A6BB3BF480}"/>
              </a:ext>
            </a:extLst>
          </p:cNvPr>
          <p:cNvSpPr txBox="1"/>
          <p:nvPr/>
        </p:nvSpPr>
        <p:spPr>
          <a:xfrm>
            <a:off x="2335018" y="1663999"/>
            <a:ext cx="1218603" cy="3347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53565A">
                    <a:lumMod val="50000"/>
                  </a:srgbClr>
                </a:solidFill>
              </a:rPr>
              <a:t>input geometry</a:t>
            </a:r>
            <a:endParaRPr lang="en-US" sz="825" dirty="0">
              <a:solidFill>
                <a:srgbClr val="53565A">
                  <a:lumMod val="50000"/>
                </a:srgbClr>
              </a:solidFill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25" dirty="0">
                <a:solidFill>
                  <a:srgbClr val="53565A">
                    <a:lumMod val="50000"/>
                  </a:srgbClr>
                </a:solidFill>
              </a:rPr>
              <a:t>(and charge and spin)</a:t>
            </a:r>
          </a:p>
        </p:txBody>
      </p:sp>
      <p:sp>
        <p:nvSpPr>
          <p:cNvPr id="59" name="Arrow: Right 58">
            <a:extLst>
              <a:ext uri="{FF2B5EF4-FFF2-40B4-BE49-F238E27FC236}">
                <a16:creationId xmlns:a16="http://schemas.microsoft.com/office/drawing/2014/main" id="{8F5D7034-DF27-424C-9B9E-1BEC274810E2}"/>
              </a:ext>
            </a:extLst>
          </p:cNvPr>
          <p:cNvSpPr/>
          <p:nvPr/>
        </p:nvSpPr>
        <p:spPr>
          <a:xfrm rot="5400000" flipV="1">
            <a:off x="1997499" y="1808400"/>
            <a:ext cx="504825" cy="290513"/>
          </a:xfrm>
          <a:prstGeom prst="rightArrow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60" name="Arrow: Right 59">
            <a:extLst>
              <a:ext uri="{FF2B5EF4-FFF2-40B4-BE49-F238E27FC236}">
                <a16:creationId xmlns:a16="http://schemas.microsoft.com/office/drawing/2014/main" id="{37D4A96C-B768-4C55-89C0-AB2552879352}"/>
              </a:ext>
            </a:extLst>
          </p:cNvPr>
          <p:cNvSpPr/>
          <p:nvPr/>
        </p:nvSpPr>
        <p:spPr>
          <a:xfrm rot="16200000">
            <a:off x="5405331" y="1812782"/>
            <a:ext cx="504825" cy="290513"/>
          </a:xfrm>
          <a:prstGeom prst="rightArrow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3D4DF8DF-9D5D-4B87-A78B-369B061E2916}"/>
              </a:ext>
            </a:extLst>
          </p:cNvPr>
          <p:cNvSpPr/>
          <p:nvPr/>
        </p:nvSpPr>
        <p:spPr>
          <a:xfrm>
            <a:off x="1627180" y="584847"/>
            <a:ext cx="4558703" cy="1535959"/>
          </a:xfrm>
          <a:prstGeom prst="roundRect">
            <a:avLst/>
          </a:prstGeom>
          <a:noFill/>
          <a:ln w="9525" cap="flat" cmpd="sng" algn="ctr">
            <a:solidFill>
              <a:srgbClr val="53565A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64" name="Title 2">
            <a:extLst>
              <a:ext uri="{FF2B5EF4-FFF2-40B4-BE49-F238E27FC236}">
                <a16:creationId xmlns:a16="http://schemas.microsoft.com/office/drawing/2014/main" id="{10ED0591-2BC8-4142-BB01-03D0E6350164}"/>
              </a:ext>
            </a:extLst>
          </p:cNvPr>
          <p:cNvSpPr txBox="1">
            <a:spLocks/>
          </p:cNvSpPr>
          <p:nvPr/>
        </p:nvSpPr>
        <p:spPr>
          <a:xfrm>
            <a:off x="3288216" y="554747"/>
            <a:ext cx="1278842" cy="463625"/>
          </a:xfrm>
          <a:prstGeom prst="rect">
            <a:avLst/>
          </a:prstGeom>
        </p:spPr>
        <p:txBody>
          <a:bodyPr vert="horz" lIns="0" tIns="29755" rIns="0" bIns="29755" rtlCol="0" anchor="t">
            <a:noAutofit/>
          </a:bodyPr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297540" fontAlgn="auto">
              <a:spcAft>
                <a:spcPts val="0"/>
              </a:spcAft>
              <a:defRPr/>
            </a:pPr>
            <a:r>
              <a:rPr lang="en-US" sz="2400" dirty="0" err="1">
                <a:solidFill>
                  <a:srgbClr val="53565A">
                    <a:lumMod val="50000"/>
                  </a:srgbClr>
                </a:solidFill>
                <a:latin typeface="Trebuchet MS"/>
              </a:rPr>
              <a:t>autoConf</a:t>
            </a:r>
            <a:endParaRPr lang="en-US" sz="2400" dirty="0">
              <a:solidFill>
                <a:srgbClr val="53565A">
                  <a:lumMod val="50000"/>
                </a:srgbClr>
              </a:solidFill>
              <a:latin typeface="Trebuchet MS"/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84AAAE55-235A-43B6-912F-B1D8BEA2D056}"/>
              </a:ext>
            </a:extLst>
          </p:cNvPr>
          <p:cNvSpPr/>
          <p:nvPr/>
        </p:nvSpPr>
        <p:spPr>
          <a:xfrm rot="16200000">
            <a:off x="598991" y="2871130"/>
            <a:ext cx="504825" cy="290513"/>
          </a:xfrm>
          <a:prstGeom prst="rightArrow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3043250-52D0-4364-ACBE-25A7DA9BA460}"/>
              </a:ext>
            </a:extLst>
          </p:cNvPr>
          <p:cNvSpPr txBox="1"/>
          <p:nvPr/>
        </p:nvSpPr>
        <p:spPr>
          <a:xfrm>
            <a:off x="1341357" y="2843358"/>
            <a:ext cx="1322798" cy="4501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53565A">
                    <a:lumMod val="50000"/>
                  </a:srgbClr>
                </a:solidFill>
              </a:rPr>
              <a:t>input reactant geometry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53565A">
                    <a:lumMod val="50000"/>
                  </a:srgbClr>
                </a:solidFill>
              </a:rPr>
              <a:t>specify reaction coordinate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25" dirty="0">
                <a:solidFill>
                  <a:srgbClr val="53565A">
                    <a:lumMod val="50000"/>
                  </a:srgbClr>
                </a:solidFill>
              </a:rPr>
              <a:t>(and charge and spin)</a:t>
            </a:r>
          </a:p>
        </p:txBody>
      </p:sp>
      <p:sp>
        <p:nvSpPr>
          <p:cNvPr id="50" name="Arrow: Right 49">
            <a:extLst>
              <a:ext uri="{FF2B5EF4-FFF2-40B4-BE49-F238E27FC236}">
                <a16:creationId xmlns:a16="http://schemas.microsoft.com/office/drawing/2014/main" id="{D1ADFBC4-20CD-447F-920B-D17D7BB6CF67}"/>
              </a:ext>
            </a:extLst>
          </p:cNvPr>
          <p:cNvSpPr/>
          <p:nvPr/>
        </p:nvSpPr>
        <p:spPr>
          <a:xfrm rot="5400000" flipV="1">
            <a:off x="5403885" y="2865070"/>
            <a:ext cx="504825" cy="290513"/>
          </a:xfrm>
          <a:prstGeom prst="rightArrow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57" name="Arrow: Chevron 56">
            <a:extLst>
              <a:ext uri="{FF2B5EF4-FFF2-40B4-BE49-F238E27FC236}">
                <a16:creationId xmlns:a16="http://schemas.microsoft.com/office/drawing/2014/main" id="{381FA11B-08B8-4334-9FB3-63D50D2C1960}"/>
              </a:ext>
            </a:extLst>
          </p:cNvPr>
          <p:cNvSpPr/>
          <p:nvPr/>
        </p:nvSpPr>
        <p:spPr>
          <a:xfrm>
            <a:off x="111312" y="2247068"/>
            <a:ext cx="1480184" cy="463625"/>
          </a:xfrm>
          <a:prstGeom prst="chevron">
            <a:avLst>
              <a:gd name="adj" fmla="val 19597"/>
            </a:avLst>
          </a:prstGeom>
          <a:solidFill>
            <a:srgbClr val="84BD0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single-ended reaction coordinate scan</a:t>
            </a:r>
          </a:p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(GFN-</a:t>
            </a:r>
            <a:r>
              <a:rPr lang="en-US" sz="750" kern="0" dirty="0" err="1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xTB</a:t>
            </a: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) 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F02DF3CE-DDAA-45D8-AE9D-C3E0725CE243}"/>
              </a:ext>
            </a:extLst>
          </p:cNvPr>
          <p:cNvSpPr/>
          <p:nvPr/>
        </p:nvSpPr>
        <p:spPr>
          <a:xfrm>
            <a:off x="48508" y="2839161"/>
            <a:ext cx="6217859" cy="1535959"/>
          </a:xfrm>
          <a:prstGeom prst="roundRect">
            <a:avLst/>
          </a:prstGeom>
          <a:noFill/>
          <a:ln w="9525" cap="flat" cmpd="sng" algn="ctr">
            <a:solidFill>
              <a:srgbClr val="53565A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2CA61D3-C016-4C3F-9A93-CCF932C9ACBE}"/>
              </a:ext>
            </a:extLst>
          </p:cNvPr>
          <p:cNvSpPr txBox="1"/>
          <p:nvPr/>
        </p:nvSpPr>
        <p:spPr>
          <a:xfrm>
            <a:off x="4155043" y="2840082"/>
            <a:ext cx="149030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53565A">
                    <a:lumMod val="50000"/>
                  </a:srgbClr>
                </a:solidFill>
              </a:rPr>
              <a:t>final TS structure and energy</a:t>
            </a:r>
          </a:p>
        </p:txBody>
      </p:sp>
      <p:sp>
        <p:nvSpPr>
          <p:cNvPr id="65" name="Title 2">
            <a:extLst>
              <a:ext uri="{FF2B5EF4-FFF2-40B4-BE49-F238E27FC236}">
                <a16:creationId xmlns:a16="http://schemas.microsoft.com/office/drawing/2014/main" id="{C704EE4C-858A-4E4E-8E8C-E9B54E46670F}"/>
              </a:ext>
            </a:extLst>
          </p:cNvPr>
          <p:cNvSpPr txBox="1">
            <a:spLocks/>
          </p:cNvSpPr>
          <p:nvPr/>
        </p:nvSpPr>
        <p:spPr>
          <a:xfrm>
            <a:off x="2461713" y="3975789"/>
            <a:ext cx="1278842" cy="463625"/>
          </a:xfrm>
          <a:prstGeom prst="rect">
            <a:avLst/>
          </a:prstGeom>
        </p:spPr>
        <p:txBody>
          <a:bodyPr vert="horz" lIns="0" tIns="29755" rIns="0" bIns="29755" rtlCol="0" anchor="t">
            <a:noAutofit/>
          </a:bodyPr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297540" fontAlgn="auto">
              <a:spcAft>
                <a:spcPts val="0"/>
              </a:spcAft>
              <a:defRPr/>
            </a:pPr>
            <a:r>
              <a:rPr lang="en-US" sz="2400" dirty="0" err="1">
                <a:solidFill>
                  <a:srgbClr val="53565A">
                    <a:lumMod val="50000"/>
                  </a:srgbClr>
                </a:solidFill>
                <a:latin typeface="Trebuchet MS"/>
              </a:rPr>
              <a:t>autoTS</a:t>
            </a:r>
            <a:endParaRPr lang="en-US" sz="2400" dirty="0">
              <a:solidFill>
                <a:srgbClr val="53565A">
                  <a:lumMod val="50000"/>
                </a:srgbClr>
              </a:solidFill>
              <a:latin typeface="Trebuchet MS"/>
            </a:endParaRP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B809C861-9FD3-4A6B-A55A-FB7416001332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2574" y="3274415"/>
            <a:ext cx="1088778" cy="1036095"/>
          </a:xfrm>
          <a:prstGeom prst="rect">
            <a:avLst/>
          </a:prstGeom>
        </p:spPr>
      </p:pic>
      <p:graphicFrame>
        <p:nvGraphicFramePr>
          <p:cNvPr id="67" name="Object 66">
            <a:extLst>
              <a:ext uri="{FF2B5EF4-FFF2-40B4-BE49-F238E27FC236}">
                <a16:creationId xmlns:a16="http://schemas.microsoft.com/office/drawing/2014/main" id="{2A1E21CC-0348-4B80-B291-564726D5246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170610" y="3210227"/>
          <a:ext cx="815845" cy="1002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1" imgW="860612" imgH="1057375" progId="ChemDraw.Document.6.0">
                  <p:embed/>
                </p:oleObj>
              </mc:Choice>
              <mc:Fallback>
                <p:oleObj name="CS ChemDraw Drawing" r:id="rId11" imgW="860612" imgH="1057375" progId="ChemDraw.Document.6.0">
                  <p:embed/>
                  <p:pic>
                    <p:nvPicPr>
                      <p:cNvPr id="67" name="Object 66">
                        <a:extLst>
                          <a:ext uri="{FF2B5EF4-FFF2-40B4-BE49-F238E27FC236}">
                            <a16:creationId xmlns:a16="http://schemas.microsoft.com/office/drawing/2014/main" id="{2A1E21CC-0348-4B80-B291-564726D524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4170610" y="3210227"/>
                        <a:ext cx="815845" cy="10024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8" name="Object 67">
            <a:extLst>
              <a:ext uri="{FF2B5EF4-FFF2-40B4-BE49-F238E27FC236}">
                <a16:creationId xmlns:a16="http://schemas.microsoft.com/office/drawing/2014/main" id="{B3853251-5809-4227-AA3E-488B8AD6E04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63502" y="3297039"/>
          <a:ext cx="815845" cy="10009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3" imgW="860612" imgH="1055582" progId="ChemDraw.Document.6.0">
                  <p:embed/>
                </p:oleObj>
              </mc:Choice>
              <mc:Fallback>
                <p:oleObj name="CS ChemDraw Drawing" r:id="rId13" imgW="860612" imgH="1055582" progId="ChemDraw.Document.6.0">
                  <p:embed/>
                  <p:pic>
                    <p:nvPicPr>
                      <p:cNvPr id="68" name="Object 67">
                        <a:extLst>
                          <a:ext uri="{FF2B5EF4-FFF2-40B4-BE49-F238E27FC236}">
                            <a16:creationId xmlns:a16="http://schemas.microsoft.com/office/drawing/2014/main" id="{B3853251-5809-4227-AA3E-488B8AD6E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463502" y="3297039"/>
                        <a:ext cx="815845" cy="10009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1042BA29-4F6C-4B52-B5E2-4FD74914AB50}"/>
              </a:ext>
            </a:extLst>
          </p:cNvPr>
          <p:cNvSpPr txBox="1"/>
          <p:nvPr/>
        </p:nvSpPr>
        <p:spPr>
          <a:xfrm>
            <a:off x="6260177" y="1491480"/>
            <a:ext cx="2966032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algn="l">
              <a:buFont typeface="Arial" panose="020B0604020202020204" pitchFamily="34" charset="0"/>
              <a:buChar char="•"/>
            </a:pPr>
            <a:r>
              <a:rPr lang="en-US" sz="1200" dirty="0"/>
              <a:t>Automated multi-level conformational search</a:t>
            </a:r>
          </a:p>
          <a:p>
            <a:pPr marL="214313" indent="-214313" algn="l">
              <a:buFont typeface="Arial" panose="020B0604020202020204" pitchFamily="34" charset="0"/>
              <a:buChar char="•"/>
            </a:pPr>
            <a:r>
              <a:rPr lang="en-US" sz="1200" dirty="0"/>
              <a:t>Built on 3 open-source engines:</a:t>
            </a:r>
          </a:p>
          <a:p>
            <a:pPr marL="557213" lvl="1" indent="-214313" algn="l">
              <a:buFont typeface="Arial" panose="020B0604020202020204" pitchFamily="34" charset="0"/>
              <a:buChar char="•"/>
            </a:pPr>
            <a:r>
              <a:rPr lang="en-US" sz="1200" dirty="0"/>
              <a:t>GFN-</a:t>
            </a:r>
            <a:r>
              <a:rPr lang="en-US" sz="1200" dirty="0" err="1"/>
              <a:t>xTB</a:t>
            </a:r>
            <a:r>
              <a:rPr lang="en-US" sz="1200" dirty="0"/>
              <a:t>/CREST</a:t>
            </a:r>
          </a:p>
          <a:p>
            <a:pPr marL="557213" lvl="1" indent="-214313" algn="l">
              <a:buFont typeface="Arial" panose="020B0604020202020204" pitchFamily="34" charset="0"/>
              <a:buChar char="•"/>
            </a:pPr>
            <a:r>
              <a:rPr lang="en-US" sz="1200" dirty="0" err="1"/>
              <a:t>NWChem</a:t>
            </a:r>
            <a:endParaRPr lang="en-US" sz="1200" dirty="0"/>
          </a:p>
          <a:p>
            <a:pPr marL="557213" lvl="1" indent="-214313" algn="l">
              <a:buFont typeface="Arial" panose="020B0604020202020204" pitchFamily="34" charset="0"/>
              <a:buChar char="•"/>
            </a:pPr>
            <a:r>
              <a:rPr lang="en-US" sz="1200" dirty="0" err="1"/>
              <a:t>GoodVibes</a:t>
            </a:r>
            <a:endParaRPr lang="en-US" sz="1200" dirty="0"/>
          </a:p>
          <a:p>
            <a:pPr marL="214313" indent="-214313" algn="l">
              <a:buFont typeface="Arial" panose="020B0604020202020204" pitchFamily="34" charset="0"/>
              <a:buChar char="•"/>
            </a:pPr>
            <a:r>
              <a:rPr lang="en-US" sz="1200" dirty="0"/>
              <a:t>Simplified user input</a:t>
            </a:r>
          </a:p>
          <a:p>
            <a:pPr marL="214313" indent="-214313" algn="l">
              <a:buFont typeface="Arial" panose="020B0604020202020204" pitchFamily="34" charset="0"/>
              <a:buChar char="•"/>
            </a:pPr>
            <a:r>
              <a:rPr lang="en-US" sz="1200" dirty="0"/>
              <a:t>Lightweight (for facile installation on internet-restricted compute clusters)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14313" indent="-214313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BFBAB12-C853-4855-8352-45376A986EF6}"/>
              </a:ext>
            </a:extLst>
          </p:cNvPr>
          <p:cNvSpPr/>
          <p:nvPr/>
        </p:nvSpPr>
        <p:spPr>
          <a:xfrm>
            <a:off x="594360" y="4660972"/>
            <a:ext cx="7164977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900" dirty="0"/>
              <a:t>Lin, S.; Fromer, J. C.; Ghosh, Y.; Hanna, B.; Elanany, M.; Xu, W. </a:t>
            </a:r>
            <a:r>
              <a:rPr lang="en-US" sz="900" i="1" dirty="0"/>
              <a:t>Sci. Rep.</a:t>
            </a:r>
            <a:r>
              <a:rPr lang="en-US" sz="900" dirty="0"/>
              <a:t> </a:t>
            </a:r>
            <a:r>
              <a:rPr lang="en-US" sz="900" b="1" dirty="0"/>
              <a:t>2021</a:t>
            </a:r>
            <a:r>
              <a:rPr lang="en-US" sz="900" dirty="0"/>
              <a:t>, </a:t>
            </a:r>
            <a:r>
              <a:rPr lang="en-US" sz="900" i="1" dirty="0"/>
              <a:t>11</a:t>
            </a:r>
            <a:r>
              <a:rPr lang="en-US" sz="900" dirty="0"/>
              <a:t>, 4534</a:t>
            </a:r>
          </a:p>
          <a:p>
            <a:pPr algn="l"/>
            <a:r>
              <a:rPr lang="en-US" sz="900" dirty="0"/>
              <a:t>Lin, S.; Elanany, M.; Khawaji, M. </a:t>
            </a:r>
            <a:r>
              <a:rPr lang="en-US" sz="900" i="1" dirty="0" err="1"/>
              <a:t>SoftwareX</a:t>
            </a:r>
            <a:r>
              <a:rPr lang="en-US" sz="900" dirty="0"/>
              <a:t> </a:t>
            </a:r>
            <a:r>
              <a:rPr lang="en-US" sz="900" b="1" dirty="0"/>
              <a:t>2022</a:t>
            </a:r>
            <a:r>
              <a:rPr lang="en-US" sz="900" dirty="0"/>
              <a:t>, </a:t>
            </a:r>
            <a:r>
              <a:rPr lang="en-US" sz="900" i="1" dirty="0"/>
              <a:t>20</a:t>
            </a:r>
            <a:r>
              <a:rPr lang="en-US" sz="900" dirty="0"/>
              <a:t>, 101242</a:t>
            </a:r>
          </a:p>
          <a:p>
            <a:pPr algn="l"/>
            <a:r>
              <a:rPr lang="en-US" sz="900" dirty="0"/>
              <a:t>Code and Tutorials at: </a:t>
            </a:r>
            <a:r>
              <a:rPr lang="en-US" sz="900" dirty="0">
                <a:hlinkClick r:id="rId15"/>
              </a:rPr>
              <a:t>https://github.com/sibo/xtbdft</a:t>
            </a:r>
            <a:r>
              <a:rPr lang="en-US" sz="900" dirty="0"/>
              <a:t> 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055A3A96-694E-4E31-96A2-41A3A226A9E5}"/>
              </a:ext>
            </a:extLst>
          </p:cNvPr>
          <p:cNvSpPr/>
          <p:nvPr/>
        </p:nvSpPr>
        <p:spPr>
          <a:xfrm flipH="1">
            <a:off x="6123694" y="3344837"/>
            <a:ext cx="2433452" cy="1075697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How many conformers within 6 kcal/mol window?</a:t>
            </a: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1E4F99D7-5BE5-59B5-6924-823FD11B1A4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53467" y="94182"/>
          <a:ext cx="617221" cy="6079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6" imgW="1052493" imgH="1037428" progId="ChemDraw.Document.6.0">
                  <p:embed/>
                </p:oleObj>
              </mc:Choice>
              <mc:Fallback>
                <p:oleObj name="CS ChemDraw Drawing" r:id="rId16" imgW="1052493" imgH="1037428" progId="ChemDraw.Document.6.0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1E4F99D7-5BE5-59B5-6924-823FD11B1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53467" y="94182"/>
                        <a:ext cx="617221" cy="6079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34602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000"/>
                            </p:stCondLst>
                            <p:childTnLst>
                              <p:par>
                                <p:cTn id="4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500"/>
                            </p:stCondLst>
                            <p:childTnLst>
                              <p:par>
                                <p:cTn id="5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000"/>
                            </p:stCondLst>
                            <p:childTnLst>
                              <p:par>
                                <p:cTn id="5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2500"/>
                            </p:stCondLst>
                            <p:childTnLst>
                              <p:par>
                                <p:cTn id="5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0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3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3000"/>
                            </p:stCondLst>
                            <p:childTnLst>
                              <p:par>
                                <p:cTn id="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35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58" grpId="0"/>
      <p:bldP spid="59" grpId="0" animBg="1"/>
      <p:bldP spid="60" grpId="0" animBg="1"/>
      <p:bldP spid="61" grpId="0" animBg="1"/>
      <p:bldP spid="64" grpId="0"/>
      <p:bldP spid="46" grpId="0" animBg="1"/>
      <p:bldP spid="47" grpId="0"/>
      <p:bldP spid="50" grpId="0" animBg="1"/>
      <p:bldP spid="57" grpId="0" animBg="1"/>
      <p:bldP spid="62" grpId="0" animBg="1"/>
      <p:bldP spid="63" grpId="0"/>
      <p:bldP spid="65" grpId="0"/>
      <p:bldP spid="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C923307-7310-4E74-8C84-3C6AB4BB31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7287" y="206004"/>
            <a:ext cx="7481741" cy="618166"/>
          </a:xfrm>
        </p:spPr>
        <p:txBody>
          <a:bodyPr/>
          <a:lstStyle/>
          <a:p>
            <a:r>
              <a:rPr lang="en-US" dirty="0"/>
              <a:t>XTBDFT Case Study: Ethylene Insertion Transition State</a:t>
            </a:r>
          </a:p>
        </p:txBody>
      </p:sp>
      <p:graphicFrame>
        <p:nvGraphicFramePr>
          <p:cNvPr id="15" name="Object 14">
            <a:extLst>
              <a:ext uri="{FF2B5EF4-FFF2-40B4-BE49-F238E27FC236}">
                <a16:creationId xmlns:a16="http://schemas.microsoft.com/office/drawing/2014/main" id="{A1166D83-3FA7-4D2C-835B-3D29DEE28BA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83169" y="797494"/>
          <a:ext cx="1230149" cy="37379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" imgW="1522207" imgH="4626641" progId="ChemDraw.Document.6.0">
                  <p:embed/>
                </p:oleObj>
              </mc:Choice>
              <mc:Fallback>
                <p:oleObj name="CS ChemDraw Drawing" r:id="rId2" imgW="1522207" imgH="4626641" progId="ChemDraw.Document.6.0">
                  <p:embed/>
                  <p:pic>
                    <p:nvPicPr>
                      <p:cNvPr id="15" name="Object 14">
                        <a:extLst>
                          <a:ext uri="{FF2B5EF4-FFF2-40B4-BE49-F238E27FC236}">
                            <a16:creationId xmlns:a16="http://schemas.microsoft.com/office/drawing/2014/main" id="{A1166D83-3FA7-4D2C-835B-3D29DEE28B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583169" y="797494"/>
                        <a:ext cx="1230149" cy="37379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9A4CE9EE-4C06-B314-10C7-42EE5CC26A56}"/>
              </a:ext>
            </a:extLst>
          </p:cNvPr>
          <p:cNvSpPr/>
          <p:nvPr/>
        </p:nvSpPr>
        <p:spPr>
          <a:xfrm>
            <a:off x="398417" y="1750423"/>
            <a:ext cx="1414901" cy="28653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23ACA1C-32C2-F519-4BDC-459C3726D171}"/>
              </a:ext>
            </a:extLst>
          </p:cNvPr>
          <p:cNvSpPr txBox="1"/>
          <p:nvPr/>
        </p:nvSpPr>
        <p:spPr>
          <a:xfrm>
            <a:off x="2132293" y="714667"/>
            <a:ext cx="5134324" cy="707886"/>
          </a:xfrm>
          <a:prstGeom prst="rect">
            <a:avLst/>
          </a:prstGeom>
          <a:solidFill>
            <a:srgbClr val="FFFFFF">
              <a:alpha val="89804"/>
            </a:srgbClr>
          </a:solidFill>
          <a:ln w="38100">
            <a:solidFill>
              <a:schemeClr val="tx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endParaRPr lang="en-US" dirty="0">
              <a:solidFill>
                <a:srgbClr val="000000"/>
              </a:solidFill>
              <a:latin typeface="Courier New" panose="02070309020205020404" pitchFamily="49" charset="0"/>
              <a:ea typeface="Calibri" panose="020F0502020204030204" pitchFamily="34" charset="0"/>
            </a:endParaRPr>
          </a:p>
          <a:p>
            <a:r>
              <a:rPr lang="en-US" sz="10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nohup</a:t>
            </a:r>
            <a:r>
              <a:rPr lang="en-US" sz="10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 xtbdft.py </a:t>
            </a:r>
            <a:r>
              <a:rPr lang="en-US" sz="10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start.xyz</a:t>
            </a:r>
            <a:r>
              <a:rPr lang="en-US" sz="10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 -</a:t>
            </a:r>
            <a:r>
              <a:rPr lang="en-US" sz="10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chrg</a:t>
            </a:r>
            <a:r>
              <a:rPr lang="en-US" sz="10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 1 -uhf 3 -mode </a:t>
            </a:r>
            <a:r>
              <a:rPr lang="en-US" sz="10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autoTS</a:t>
            </a:r>
            <a:r>
              <a:rPr lang="en-US" sz="10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 28 65 1.6 -other=”-</a:t>
            </a:r>
            <a:r>
              <a:rPr lang="en-US" sz="10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cbonds</a:t>
            </a:r>
            <a:r>
              <a:rPr lang="en-US" sz="10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 1.0” &amp;</a:t>
            </a:r>
            <a:endParaRPr lang="en-US" dirty="0">
              <a:solidFill>
                <a:srgbClr val="000000"/>
              </a:solidFill>
              <a:latin typeface="Courier New" panose="02070309020205020404" pitchFamily="49" charset="0"/>
              <a:ea typeface="Calibri" panose="020F0502020204030204" pitchFamily="34" charset="0"/>
            </a:endParaRPr>
          </a:p>
          <a:p>
            <a:endParaRPr lang="en-US" sz="1000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985612E-93C0-ABA5-8D76-4A386EFB4D68}"/>
              </a:ext>
            </a:extLst>
          </p:cNvPr>
          <p:cNvGrpSpPr/>
          <p:nvPr/>
        </p:nvGrpSpPr>
        <p:grpSpPr>
          <a:xfrm>
            <a:off x="1381709" y="1082730"/>
            <a:ext cx="4183484" cy="1463278"/>
            <a:chOff x="301001" y="1082730"/>
            <a:chExt cx="4183484" cy="1463278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4FCF2E3-9312-2053-85ED-43A7C2DDF18E}"/>
                </a:ext>
              </a:extLst>
            </p:cNvPr>
            <p:cNvSpPr txBox="1"/>
            <p:nvPr/>
          </p:nvSpPr>
          <p:spPr>
            <a:xfrm>
              <a:off x="301001" y="1838122"/>
              <a:ext cx="1794483" cy="707886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 w="38100">
              <a:solidFill>
                <a:srgbClr val="C00000"/>
              </a:solidFill>
            </a:ln>
          </p:spPr>
          <p:txBody>
            <a:bodyPr wrap="square">
              <a:spAutoFit/>
            </a:bodyPr>
            <a:lstStyle/>
            <a:p>
              <a:endParaRPr lang="en-US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</a:endParaRPr>
            </a:p>
            <a:p>
              <a:r>
                <a:rPr lang="en-US" dirty="0">
                  <a:solidFill>
                    <a:srgbClr val="000000"/>
                  </a:solidFill>
                  <a:latin typeface="Courier New" panose="02070309020205020404" pitchFamily="49" charset="0"/>
                  <a:ea typeface="Calibri" panose="020F0502020204030204" pitchFamily="34" charset="0"/>
                </a:rPr>
                <a:t>“</a:t>
              </a:r>
              <a:r>
                <a:rPr lang="en-US" dirty="0" err="1">
                  <a:solidFill>
                    <a:srgbClr val="000000"/>
                  </a:solidFill>
                  <a:latin typeface="Courier New" panose="02070309020205020404" pitchFamily="49" charset="0"/>
                  <a:ea typeface="Calibri" panose="020F0502020204030204" pitchFamily="34" charset="0"/>
                </a:rPr>
                <a:t>nohup</a:t>
              </a:r>
              <a:r>
                <a:rPr lang="en-US" dirty="0">
                  <a:solidFill>
                    <a:srgbClr val="000000"/>
                  </a:solidFill>
                  <a:latin typeface="Courier New" panose="02070309020205020404" pitchFamily="49" charset="0"/>
                  <a:ea typeface="Calibri" panose="020F0502020204030204" pitchFamily="34" charset="0"/>
                </a:rPr>
                <a:t>” and “&amp;” to run job in background</a:t>
              </a:r>
            </a:p>
            <a:p>
              <a:endParaRPr lang="en-US" sz="1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168269B-7332-5CD4-FBB8-C8742E3DA51F}"/>
                </a:ext>
              </a:extLst>
            </p:cNvPr>
            <p:cNvCxnSpPr/>
            <p:nvPr/>
          </p:nvCxnSpPr>
          <p:spPr>
            <a:xfrm>
              <a:off x="1198242" y="1082730"/>
              <a:ext cx="415933" cy="0"/>
            </a:xfrm>
            <a:prstGeom prst="line">
              <a:avLst/>
            </a:prstGeom>
            <a:ln w="28575" cmpd="sng">
              <a:solidFill>
                <a:srgbClr val="C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A0DA616-32E8-86C1-DE21-E6AA56A50C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19933" y="1215796"/>
              <a:ext cx="164552" cy="2204"/>
            </a:xfrm>
            <a:prstGeom prst="line">
              <a:avLst/>
            </a:prstGeom>
            <a:ln w="28575" cmpd="sng">
              <a:solidFill>
                <a:srgbClr val="C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2DFD29B-2446-761D-2BCB-21C6414E122D}"/>
              </a:ext>
            </a:extLst>
          </p:cNvPr>
          <p:cNvGrpSpPr/>
          <p:nvPr/>
        </p:nvGrpSpPr>
        <p:grpSpPr>
          <a:xfrm>
            <a:off x="3688434" y="1050429"/>
            <a:ext cx="1794483" cy="1649467"/>
            <a:chOff x="2233840" y="1050429"/>
            <a:chExt cx="1794483" cy="1649467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36DA29F-E11F-7B14-B807-9B4FCFDD1AF0}"/>
                </a:ext>
              </a:extLst>
            </p:cNvPr>
            <p:cNvSpPr txBox="1"/>
            <p:nvPr/>
          </p:nvSpPr>
          <p:spPr>
            <a:xfrm>
              <a:off x="2233840" y="1838122"/>
              <a:ext cx="1794483" cy="861774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 w="38100">
              <a:solidFill>
                <a:srgbClr val="FFC000"/>
              </a:solidFill>
            </a:ln>
          </p:spPr>
          <p:txBody>
            <a:bodyPr wrap="square">
              <a:spAutoFit/>
            </a:bodyPr>
            <a:lstStyle/>
            <a:p>
              <a:endParaRPr lang="en-US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</a:endParaRPr>
            </a:p>
            <a:p>
              <a:r>
                <a:rPr lang="en-US" dirty="0">
                  <a:solidFill>
                    <a:srgbClr val="000000"/>
                  </a:solidFill>
                  <a:latin typeface="Courier New" panose="02070309020205020404" pitchFamily="49" charset="0"/>
                  <a:ea typeface="Calibri" panose="020F0502020204030204" pitchFamily="34" charset="0"/>
                </a:rPr>
                <a:t>“-</a:t>
              </a:r>
              <a:r>
                <a:rPr lang="en-US" dirty="0" err="1">
                  <a:solidFill>
                    <a:srgbClr val="000000"/>
                  </a:solidFill>
                  <a:latin typeface="Courier New" panose="02070309020205020404" pitchFamily="49" charset="0"/>
                  <a:ea typeface="Calibri" panose="020F0502020204030204" pitchFamily="34" charset="0"/>
                </a:rPr>
                <a:t>chrg</a:t>
              </a:r>
              <a:r>
                <a:rPr lang="en-US" dirty="0">
                  <a:solidFill>
                    <a:srgbClr val="000000"/>
                  </a:solidFill>
                  <a:latin typeface="Courier New" panose="02070309020205020404" pitchFamily="49" charset="0"/>
                  <a:ea typeface="Calibri" panose="020F0502020204030204" pitchFamily="34" charset="0"/>
                </a:rPr>
                <a:t>” and “–uhf” to denote charge and unpaired electrons</a:t>
              </a:r>
            </a:p>
            <a:p>
              <a:endParaRPr lang="en-US" sz="1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endParaRP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05A9DDA-E188-F84F-3E82-103A6E42F7A0}"/>
                </a:ext>
              </a:extLst>
            </p:cNvPr>
            <p:cNvCxnSpPr>
              <a:cxnSpLocks/>
            </p:cNvCxnSpPr>
            <p:nvPr/>
          </p:nvCxnSpPr>
          <p:spPr>
            <a:xfrm>
              <a:off x="2858190" y="1050429"/>
              <a:ext cx="1029925" cy="0"/>
            </a:xfrm>
            <a:prstGeom prst="line">
              <a:avLst/>
            </a:prstGeom>
            <a:ln w="28575" cmpd="sng">
              <a:solidFill>
                <a:srgbClr val="FFC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8D28CDF-8442-BAAF-F617-4BF24AB3AEB3}"/>
              </a:ext>
            </a:extLst>
          </p:cNvPr>
          <p:cNvGrpSpPr/>
          <p:nvPr/>
        </p:nvGrpSpPr>
        <p:grpSpPr>
          <a:xfrm>
            <a:off x="5400641" y="1050429"/>
            <a:ext cx="2361650" cy="1339438"/>
            <a:chOff x="3714495" y="1050429"/>
            <a:chExt cx="2361650" cy="1339438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C9341DD9-FF55-557A-D3AD-9D5ADAF9F52D}"/>
                </a:ext>
              </a:extLst>
            </p:cNvPr>
            <p:cNvCxnSpPr>
              <a:cxnSpLocks/>
            </p:cNvCxnSpPr>
            <p:nvPr/>
          </p:nvCxnSpPr>
          <p:spPr>
            <a:xfrm>
              <a:off x="3714495" y="1050429"/>
              <a:ext cx="931479" cy="0"/>
            </a:xfrm>
            <a:prstGeom prst="line">
              <a:avLst/>
            </a:prstGeom>
            <a:ln w="28575" cmpd="sng">
              <a:solidFill>
                <a:srgbClr val="92D05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5AE1741E-4F9F-0430-A88C-CA4E78A46211}"/>
                </a:ext>
              </a:extLst>
            </p:cNvPr>
            <p:cNvSpPr txBox="1"/>
            <p:nvPr/>
          </p:nvSpPr>
          <p:spPr>
            <a:xfrm>
              <a:off x="4281662" y="1835869"/>
              <a:ext cx="1794483" cy="553998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 w="38100">
              <a:solidFill>
                <a:srgbClr val="92D050"/>
              </a:solidFill>
            </a:ln>
          </p:spPr>
          <p:txBody>
            <a:bodyPr wrap="square">
              <a:spAutoFit/>
            </a:bodyPr>
            <a:lstStyle/>
            <a:p>
              <a:endParaRPr lang="en-US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</a:endParaRPr>
            </a:p>
            <a:p>
              <a:r>
                <a:rPr lang="en-US" dirty="0">
                  <a:solidFill>
                    <a:srgbClr val="000000"/>
                  </a:solidFill>
                  <a:latin typeface="Courier New" panose="02070309020205020404" pitchFamily="49" charset="0"/>
                  <a:ea typeface="Calibri" panose="020F0502020204030204" pitchFamily="34" charset="0"/>
                </a:rPr>
                <a:t>“-mode” set to </a:t>
              </a:r>
              <a:r>
                <a:rPr lang="en-US" dirty="0" err="1">
                  <a:solidFill>
                    <a:srgbClr val="000000"/>
                  </a:solidFill>
                  <a:latin typeface="Courier New" panose="02070309020205020404" pitchFamily="49" charset="0"/>
                  <a:ea typeface="Calibri" panose="020F0502020204030204" pitchFamily="34" charset="0"/>
                </a:rPr>
                <a:t>autoTS</a:t>
              </a:r>
              <a:endParaRPr lang="en-US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</a:endParaRPr>
            </a:p>
            <a:p>
              <a:endParaRPr lang="en-US" sz="1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C95B56B-9B3E-BEDE-240C-BA2DA0870EA8}"/>
              </a:ext>
            </a:extLst>
          </p:cNvPr>
          <p:cNvGrpSpPr/>
          <p:nvPr/>
        </p:nvGrpSpPr>
        <p:grpSpPr>
          <a:xfrm>
            <a:off x="1227287" y="911869"/>
            <a:ext cx="5888991" cy="3185523"/>
            <a:chOff x="1227287" y="911869"/>
            <a:chExt cx="5888991" cy="3185523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2FACADBA-63D2-974B-4C8E-8A14DA06A1E9}"/>
                </a:ext>
              </a:extLst>
            </p:cNvPr>
            <p:cNvGrpSpPr/>
            <p:nvPr/>
          </p:nvGrpSpPr>
          <p:grpSpPr>
            <a:xfrm>
              <a:off x="1400427" y="1051475"/>
              <a:ext cx="5715851" cy="3045917"/>
              <a:chOff x="1400427" y="1051475"/>
              <a:chExt cx="5715851" cy="3045917"/>
            </a:xfrm>
          </p:grpSpPr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406A4DC6-6290-11D6-9CFE-56A7F8BA08FD}"/>
                  </a:ext>
                </a:extLst>
              </p:cNvPr>
              <p:cNvSpPr txBox="1"/>
              <p:nvPr/>
            </p:nvSpPr>
            <p:spPr>
              <a:xfrm>
                <a:off x="1400427" y="3235618"/>
                <a:ext cx="2700899" cy="861774"/>
              </a:xfrm>
              <a:prstGeom prst="rect">
                <a:avLst/>
              </a:prstGeom>
              <a:solidFill>
                <a:srgbClr val="FFFFFF">
                  <a:alpha val="89804"/>
                </a:srgbClr>
              </a:solidFill>
              <a:ln w="38100">
                <a:solidFill>
                  <a:srgbClr val="00B0F0"/>
                </a:solidFill>
              </a:ln>
            </p:spPr>
            <p:txBody>
              <a:bodyPr wrap="square">
                <a:spAutoFit/>
              </a:bodyPr>
              <a:lstStyle/>
              <a:p>
                <a:endParaRPr lang="en-US" dirty="0">
                  <a:solidFill>
                    <a:srgbClr val="000000"/>
                  </a:solidFill>
                  <a:latin typeface="Courier New" panose="02070309020205020404" pitchFamily="49" charset="0"/>
                  <a:ea typeface="Calibri" panose="020F0502020204030204" pitchFamily="34" charset="0"/>
                </a:endParaRPr>
              </a:p>
              <a:p>
                <a:r>
                  <a:rPr lang="en-US" dirty="0">
                    <a:solidFill>
                      <a:srgbClr val="000000"/>
                    </a:solidFill>
                    <a:latin typeface="Courier New" panose="02070309020205020404" pitchFamily="49" charset="0"/>
                    <a:ea typeface="Calibri" panose="020F0502020204030204" pitchFamily="34" charset="0"/>
                  </a:rPr>
                  <a:t>Reaction coordinate:</a:t>
                </a:r>
              </a:p>
              <a:p>
                <a:r>
                  <a:rPr lang="en-US" dirty="0">
                    <a:solidFill>
                      <a:srgbClr val="000000"/>
                    </a:solidFill>
                    <a:latin typeface="Courier New" panose="02070309020205020404" pitchFamily="49" charset="0"/>
                    <a:ea typeface="Calibri" panose="020F0502020204030204" pitchFamily="34" charset="0"/>
                  </a:rPr>
                  <a:t>Distance between atoms 28 &amp; 65, from 3.06 to 1.60 Å</a:t>
                </a:r>
              </a:p>
              <a:p>
                <a:endParaRPr lang="en-US" sz="100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</a:endParaRPr>
              </a:p>
            </p:txBody>
          </p: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76D2A037-9702-C1CB-5BAC-C71127542D1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402513" y="1051475"/>
                <a:ext cx="713765" cy="0"/>
              </a:xfrm>
              <a:prstGeom prst="line">
                <a:avLst/>
              </a:prstGeom>
              <a:ln w="28575" cmpd="sng">
                <a:solidFill>
                  <a:srgbClr val="00B0F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5C108680-2857-9BBE-3CF2-E709BE4EEF76}"/>
                </a:ext>
              </a:extLst>
            </p:cNvPr>
            <p:cNvSpPr/>
            <p:nvPr/>
          </p:nvSpPr>
          <p:spPr>
            <a:xfrm>
              <a:off x="1227287" y="911869"/>
              <a:ext cx="634170" cy="400948"/>
            </a:xfrm>
            <a:prstGeom prst="ellipse">
              <a:avLst/>
            </a:prstGeom>
            <a:noFill/>
            <a:ln w="28575">
              <a:solidFill>
                <a:srgbClr val="00B0F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DC97A37C-1135-DA22-274F-9197EDAF2B83}"/>
              </a:ext>
            </a:extLst>
          </p:cNvPr>
          <p:cNvSpPr txBox="1"/>
          <p:nvPr/>
        </p:nvSpPr>
        <p:spPr>
          <a:xfrm>
            <a:off x="4544632" y="3240966"/>
            <a:ext cx="3214705" cy="861774"/>
          </a:xfrm>
          <a:prstGeom prst="rect">
            <a:avLst/>
          </a:prstGeom>
          <a:solidFill>
            <a:srgbClr val="FFFFFF">
              <a:alpha val="89804"/>
            </a:srgbClr>
          </a:solidFill>
          <a:ln w="38100">
            <a:solidFill>
              <a:srgbClr val="7030A0"/>
            </a:solidFill>
          </a:ln>
        </p:spPr>
        <p:txBody>
          <a:bodyPr wrap="square">
            <a:spAutoFit/>
          </a:bodyPr>
          <a:lstStyle/>
          <a:p>
            <a:endParaRPr lang="en-US" dirty="0">
              <a:solidFill>
                <a:srgbClr val="000000"/>
              </a:solidFill>
              <a:latin typeface="Courier New" panose="02070309020205020404" pitchFamily="49" charset="0"/>
              <a:ea typeface="Calibri" panose="020F0502020204030204" pitchFamily="34" charset="0"/>
            </a:endParaRPr>
          </a:p>
          <a:p>
            <a:r>
              <a:rPr lang="en-US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</a:rPr>
              <a:t>constrains all bonds with harmonic potential to prevent Cr-P dissociation</a:t>
            </a:r>
          </a:p>
          <a:p>
            <a:r>
              <a:rPr lang="en-US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</a:rPr>
              <a:t>(1.0 Hartree/Bohr</a:t>
            </a:r>
            <a:r>
              <a:rPr lang="en-US" baseline="30000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</a:rPr>
              <a:t> force constant) </a:t>
            </a:r>
          </a:p>
          <a:p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9A5686D-C260-248E-4044-BD9E52B37FA1}"/>
              </a:ext>
            </a:extLst>
          </p:cNvPr>
          <p:cNvCxnSpPr>
            <a:cxnSpLocks/>
          </p:cNvCxnSpPr>
          <p:nvPr/>
        </p:nvCxnSpPr>
        <p:spPr>
          <a:xfrm flipV="1">
            <a:off x="3832952" y="1227994"/>
            <a:ext cx="1482635" cy="7395"/>
          </a:xfrm>
          <a:prstGeom prst="line">
            <a:avLst/>
          </a:prstGeom>
          <a:ln w="28575" cmpd="sng">
            <a:solidFill>
              <a:srgbClr val="7030A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7DB41A0C-4EEF-7FB3-7593-822FA8DC3E45}"/>
              </a:ext>
            </a:extLst>
          </p:cNvPr>
          <p:cNvSpPr/>
          <p:nvPr/>
        </p:nvSpPr>
        <p:spPr>
          <a:xfrm>
            <a:off x="594360" y="4660972"/>
            <a:ext cx="7164977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900" dirty="0"/>
              <a:t>Lin, S.; Fromer, J. C.; Ghosh, Y.; Hanna, B.; Elanany, M.; Xu, W. </a:t>
            </a:r>
            <a:r>
              <a:rPr lang="en-US" sz="900" i="1" dirty="0"/>
              <a:t>Sci. Rep.</a:t>
            </a:r>
            <a:r>
              <a:rPr lang="en-US" sz="900" dirty="0"/>
              <a:t> </a:t>
            </a:r>
            <a:r>
              <a:rPr lang="en-US" sz="900" b="1" dirty="0"/>
              <a:t>2021</a:t>
            </a:r>
            <a:r>
              <a:rPr lang="en-US" sz="900" dirty="0"/>
              <a:t>, </a:t>
            </a:r>
            <a:r>
              <a:rPr lang="en-US" sz="900" i="1" dirty="0"/>
              <a:t>11</a:t>
            </a:r>
            <a:r>
              <a:rPr lang="en-US" sz="900" dirty="0"/>
              <a:t>, 4534</a:t>
            </a:r>
          </a:p>
          <a:p>
            <a:pPr algn="l"/>
            <a:r>
              <a:rPr lang="en-US" sz="900" dirty="0"/>
              <a:t>Lin, S.; Elanany, M.; Khawaji, M. </a:t>
            </a:r>
            <a:r>
              <a:rPr lang="en-US" sz="900" i="1" dirty="0" err="1"/>
              <a:t>SoftwareX</a:t>
            </a:r>
            <a:r>
              <a:rPr lang="en-US" sz="900" dirty="0"/>
              <a:t> </a:t>
            </a:r>
            <a:r>
              <a:rPr lang="en-US" sz="900" b="1" dirty="0"/>
              <a:t>2022</a:t>
            </a:r>
            <a:r>
              <a:rPr lang="en-US" sz="900" dirty="0"/>
              <a:t>, </a:t>
            </a:r>
            <a:r>
              <a:rPr lang="en-US" sz="900" i="1" dirty="0"/>
              <a:t>20</a:t>
            </a:r>
            <a:r>
              <a:rPr lang="en-US" sz="900" dirty="0"/>
              <a:t>, 101242</a:t>
            </a:r>
          </a:p>
          <a:p>
            <a:pPr algn="l"/>
            <a:r>
              <a:rPr lang="en-US" sz="900" dirty="0"/>
              <a:t>Code and Tutorials at: </a:t>
            </a:r>
            <a:r>
              <a:rPr lang="en-US" sz="900" dirty="0">
                <a:hlinkClick r:id="rId4"/>
              </a:rPr>
              <a:t>https://github.com/sibo/xtbdft</a:t>
            </a:r>
            <a:r>
              <a:rPr lang="en-US" sz="900" dirty="0"/>
              <a:t> 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CC18502E-9E1D-0078-C8D7-937986A0722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53467" y="94182"/>
          <a:ext cx="617221" cy="6079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5" imgW="1052493" imgH="1037428" progId="ChemDraw.Document.6.0">
                  <p:embed/>
                </p:oleObj>
              </mc:Choice>
              <mc:Fallback>
                <p:oleObj name="CS ChemDraw Drawing" r:id="rId5" imgW="1052493" imgH="1037428" progId="ChemDraw.Document.6.0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CC18502E-9E1D-0078-C8D7-937986A07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53467" y="94182"/>
                        <a:ext cx="617221" cy="6079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73293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87_oItRESbUFrtMdDG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87_oItRESbUFrtMdDG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87_oItRESbUFrtMdDG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87_oItRESbUFrtMdDG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87_oItRESbUFrtMdDG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87_oItRESbUFrtMdDG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87_oItRESbUFrtMdDG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ramcoDefaultTheme_noFooter">
  <a:themeElements>
    <a:clrScheme name="Saudi Aramco">
      <a:dk1>
        <a:srgbClr val="53565A"/>
      </a:dk1>
      <a:lt1>
        <a:sysClr val="window" lastClr="FFFFFF"/>
      </a:lt1>
      <a:dk2>
        <a:srgbClr val="00A3E0"/>
      </a:dk2>
      <a:lt2>
        <a:srgbClr val="84BD00"/>
      </a:lt2>
      <a:accent1>
        <a:srgbClr val="84BD00"/>
      </a:accent1>
      <a:accent2>
        <a:srgbClr val="00843D"/>
      </a:accent2>
      <a:accent3>
        <a:srgbClr val="0033A0"/>
      </a:accent3>
      <a:accent4>
        <a:srgbClr val="00A3E0"/>
      </a:accent4>
      <a:accent5>
        <a:srgbClr val="53565A"/>
      </a:accent5>
      <a:accent6>
        <a:srgbClr val="8F9194"/>
      </a:accent6>
      <a:hlink>
        <a:srgbClr val="00A3E0"/>
      </a:hlink>
      <a:folHlink>
        <a:srgbClr val="0033A0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ramcoDefaultTheme_noFooter" id="{0E2FD51E-513A-4EC2-BD5F-A36306966BB1}" vid="{3F7E4FF4-7FCD-480B-83BF-5A0850AF596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AramcoDefaultTheme_noFooter</Template>
  <TotalTime>9297</TotalTime>
  <Words>1614</Words>
  <Application>Microsoft Office PowerPoint</Application>
  <PresentationFormat>On-screen Show (16:9)</PresentationFormat>
  <Paragraphs>282</Paragraphs>
  <Slides>2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0</vt:i4>
      </vt:variant>
    </vt:vector>
  </HeadingPairs>
  <TitlesOfParts>
    <vt:vector size="29" baseType="lpstr">
      <vt:lpstr>Arial</vt:lpstr>
      <vt:lpstr>Calibri</vt:lpstr>
      <vt:lpstr>Courier New</vt:lpstr>
      <vt:lpstr>Lucida Grande</vt:lpstr>
      <vt:lpstr>Trebuchet MS</vt:lpstr>
      <vt:lpstr>AramcoDefaultTheme_noFooter</vt:lpstr>
      <vt:lpstr>CS ChemDraw Drawing</vt:lpstr>
      <vt:lpstr>Microsoft Excel Worksheet</vt:lpstr>
      <vt:lpstr>think-cell Slide</vt:lpstr>
      <vt:lpstr>Digital Chemistry Guided Development of Novel Ligands for Selective Ethylene Tetramerization</vt:lpstr>
      <vt:lpstr>PowerPoint Presentation</vt:lpstr>
      <vt:lpstr>PowerPoint Presentation</vt:lpstr>
      <vt:lpstr>Ethylene Tetramerization Challenges</vt:lpstr>
      <vt:lpstr>Accelerating Catalyst Discovery with Digital Chemistry</vt:lpstr>
      <vt:lpstr>       Ligand Stability Correlates with Lower PE wt%</vt:lpstr>
      <vt:lpstr>Mechanism: Prior DFT Study </vt:lpstr>
      <vt:lpstr>Mechanism: Automated Conformer Analysis</vt:lpstr>
      <vt:lpstr>XTBDFT Case Study: Ethylene Insertion Transition State</vt:lpstr>
      <vt:lpstr>PowerPoint Presentation</vt:lpstr>
      <vt:lpstr>Mechanism: Rate-Limiting Steps</vt:lpstr>
      <vt:lpstr>Mechanism: 1-C8 vs 1-C6 Determining Steps</vt:lpstr>
      <vt:lpstr>       Ligand Bulk Correlates with Total LAO (1-C6 + 1-C8) wt%</vt:lpstr>
      <vt:lpstr>Summary of Digital Chemistry for Ethylene Tetramerization</vt:lpstr>
      <vt:lpstr>Acknowledgements</vt:lpstr>
      <vt:lpstr>PowerPoint Presentation</vt:lpstr>
      <vt:lpstr>Computational: Calculating PNP stability against PPN isomerization</vt:lpstr>
      <vt:lpstr>“Buried Volume” to Evaluate Ligand Sterics</vt:lpstr>
      <vt:lpstr>“Buried Volume” to Evaluate Ligand Sterics</vt:lpstr>
      <vt:lpstr>Computational: First Detailed Reaction Mechanism of Full Sasol Ligan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Chemistry Guided Development of Novel Ligands for Selective Ethylene Tetramerization</dc:title>
  <dc:creator>Lin, Sibo</dc:creator>
  <cp:lastModifiedBy>Lin, Sibo</cp:lastModifiedBy>
  <cp:revision>2</cp:revision>
  <dcterms:created xsi:type="dcterms:W3CDTF">2022-11-17T02:26:19Z</dcterms:created>
  <dcterms:modified xsi:type="dcterms:W3CDTF">2022-11-23T17:20:17Z</dcterms:modified>
</cp:coreProperties>
</file>